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9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0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2.xml" ContentType="application/vnd.openxmlformats-officedocument.presentationml.notesSlide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4.xml" ContentType="application/vnd.openxmlformats-officedocument.presentationml.notesSlide+xml"/>
  <Override PartName="/ppt/tags/tag23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3" r:id="rId2"/>
    <p:sldMasterId id="2147483726" r:id="rId3"/>
  </p:sldMasterIdLst>
  <p:notesMasterIdLst>
    <p:notesMasterId r:id="rId80"/>
  </p:notesMasterIdLst>
  <p:sldIdLst>
    <p:sldId id="1448943462" r:id="rId4"/>
    <p:sldId id="1448943466" r:id="rId5"/>
    <p:sldId id="1448943468" r:id="rId6"/>
    <p:sldId id="258" r:id="rId7"/>
    <p:sldId id="1448943453" r:id="rId8"/>
    <p:sldId id="284" r:id="rId9"/>
    <p:sldId id="328" r:id="rId10"/>
    <p:sldId id="1448943464" r:id="rId11"/>
    <p:sldId id="1448943472" r:id="rId12"/>
    <p:sldId id="1448943473" r:id="rId13"/>
    <p:sldId id="1448943482" r:id="rId14"/>
    <p:sldId id="1448943485" r:id="rId15"/>
    <p:sldId id="1448943486" r:id="rId16"/>
    <p:sldId id="1448943487" r:id="rId17"/>
    <p:sldId id="1448943488" r:id="rId18"/>
    <p:sldId id="1448943489" r:id="rId19"/>
    <p:sldId id="1448943491" r:id="rId20"/>
    <p:sldId id="1448943492" r:id="rId21"/>
    <p:sldId id="1448943494" r:id="rId22"/>
    <p:sldId id="1448943493" r:id="rId23"/>
    <p:sldId id="1448943495" r:id="rId24"/>
    <p:sldId id="1448943496" r:id="rId25"/>
    <p:sldId id="1448943497" r:id="rId26"/>
    <p:sldId id="1448943498" r:id="rId27"/>
    <p:sldId id="1448943499" r:id="rId28"/>
    <p:sldId id="1448943500" r:id="rId29"/>
    <p:sldId id="1448943501" r:id="rId30"/>
    <p:sldId id="1448943502" r:id="rId31"/>
    <p:sldId id="1448943503" r:id="rId32"/>
    <p:sldId id="1448943504" r:id="rId33"/>
    <p:sldId id="1448943505" r:id="rId34"/>
    <p:sldId id="1448943506" r:id="rId35"/>
    <p:sldId id="1448943507" r:id="rId36"/>
    <p:sldId id="1448943508" r:id="rId37"/>
    <p:sldId id="1448943509" r:id="rId38"/>
    <p:sldId id="1448943510" r:id="rId39"/>
    <p:sldId id="1448943511" r:id="rId40"/>
    <p:sldId id="1448943512" r:id="rId41"/>
    <p:sldId id="1448943513" r:id="rId42"/>
    <p:sldId id="1448943514" r:id="rId43"/>
    <p:sldId id="1448943484" r:id="rId44"/>
    <p:sldId id="1448943490" r:id="rId45"/>
    <p:sldId id="293" r:id="rId46"/>
    <p:sldId id="1448943474" r:id="rId47"/>
    <p:sldId id="1448943475" r:id="rId48"/>
    <p:sldId id="1448943476" r:id="rId49"/>
    <p:sldId id="1448943477" r:id="rId50"/>
    <p:sldId id="1448943478" r:id="rId51"/>
    <p:sldId id="1448943479" r:id="rId52"/>
    <p:sldId id="1448943480" r:id="rId53"/>
    <p:sldId id="1448943481" r:id="rId54"/>
    <p:sldId id="285" r:id="rId55"/>
    <p:sldId id="316" r:id="rId56"/>
    <p:sldId id="1448943448" r:id="rId57"/>
    <p:sldId id="1448943449" r:id="rId58"/>
    <p:sldId id="1448943450" r:id="rId59"/>
    <p:sldId id="1448943452" r:id="rId60"/>
    <p:sldId id="317" r:id="rId61"/>
    <p:sldId id="318" r:id="rId62"/>
    <p:sldId id="319" r:id="rId63"/>
    <p:sldId id="320" r:id="rId64"/>
    <p:sldId id="321" r:id="rId65"/>
    <p:sldId id="326" r:id="rId66"/>
    <p:sldId id="1448943454" r:id="rId67"/>
    <p:sldId id="1448943455" r:id="rId68"/>
    <p:sldId id="1448943456" r:id="rId69"/>
    <p:sldId id="1448943457" r:id="rId70"/>
    <p:sldId id="1448943458" r:id="rId71"/>
    <p:sldId id="1448943459" r:id="rId72"/>
    <p:sldId id="1448943460" r:id="rId73"/>
    <p:sldId id="1448943461" r:id="rId74"/>
    <p:sldId id="1448943470" r:id="rId75"/>
    <p:sldId id="1448943471" r:id="rId76"/>
    <p:sldId id="277" r:id="rId77"/>
    <p:sldId id="289" r:id="rId78"/>
    <p:sldId id="266" r:id="rId79"/>
  </p:sldIdLst>
  <p:sldSz cx="9144000" cy="5143500" type="screen16x9"/>
  <p:notesSz cx="6858000" cy="9144000"/>
  <p:custDataLst>
    <p:tags r:id="rId8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1" autoAdjust="0"/>
    <p:restoredTop sz="93891" autoAdjust="0"/>
  </p:normalViewPr>
  <p:slideViewPr>
    <p:cSldViewPr snapToGrid="0" showGuides="1">
      <p:cViewPr varScale="1">
        <p:scale>
          <a:sx n="99" d="100"/>
          <a:sy n="99" d="100"/>
        </p:scale>
        <p:origin x="582" y="84"/>
      </p:cViewPr>
      <p:guideLst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-10792"/>
    </p:cViewPr>
  </p:outlineViewPr>
  <p:notesTextViewPr>
    <p:cViewPr>
      <p:scale>
        <a:sx n="75" d="100"/>
        <a:sy n="75" d="100"/>
      </p:scale>
      <p:origin x="0" y="0"/>
    </p:cViewPr>
  </p:notesTextViewPr>
  <p:notesViewPr>
    <p:cSldViewPr snapToGrid="0" showGuides="1">
      <p:cViewPr varScale="1">
        <p:scale>
          <a:sx n="52" d="100"/>
          <a:sy n="52" d="100"/>
        </p:scale>
        <p:origin x="1588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theme" Target="theme/theme1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61" Type="http://schemas.openxmlformats.org/officeDocument/2006/relationships/slide" Target="slides/slide58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73923307449756"/>
          <c:y val="0.10214749037427591"/>
          <c:w val="0.6085212926172584"/>
          <c:h val="0.8750001734364704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6350">
              <a:solidFill>
                <a:srgbClr val="FFFFFF"/>
              </a:solidFill>
              <a:prstDash val="solid"/>
            </a:ln>
          </c:spPr>
          <c:dPt>
            <c:idx val="0"/>
            <c:bubble3D val="0"/>
            <c:spPr>
              <a:solidFill>
                <a:srgbClr val="000078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CE07-4D4A-9DE6-D24E0DDA2B64}"/>
              </c:ext>
            </c:extLst>
          </c:dPt>
          <c:dPt>
            <c:idx val="1"/>
            <c:bubble3D val="0"/>
            <c:spPr>
              <a:solidFill>
                <a:srgbClr val="0598FA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E07-4D4A-9DE6-D24E0DDA2B64}"/>
              </c:ext>
            </c:extLst>
          </c:dPt>
          <c:dPt>
            <c:idx val="2"/>
            <c:bubble3D val="0"/>
            <c:spPr>
              <a:solidFill>
                <a:srgbClr val="0046FF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CE07-4D4A-9DE6-D24E0DDA2B64}"/>
              </c:ext>
            </c:extLst>
          </c:dPt>
          <c:dPt>
            <c:idx val="3"/>
            <c:bubble3D val="0"/>
            <c:spPr>
              <a:solidFill>
                <a:srgbClr val="000AD2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CE07-4D4A-9DE6-D24E0DDA2B64}"/>
              </c:ext>
            </c:extLst>
          </c:dPt>
          <c:dPt>
            <c:idx val="4"/>
            <c:bubble3D val="0"/>
            <c:spPr>
              <a:solidFill>
                <a:srgbClr val="0573FF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CE07-4D4A-9DE6-D24E0DDA2B64}"/>
              </c:ext>
            </c:extLst>
          </c:dPt>
          <c:dPt>
            <c:idx val="5"/>
            <c:bubble3D val="0"/>
            <c:spPr>
              <a:solidFill>
                <a:srgbClr val="483FCD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CE07-4D4A-9DE6-D24E0DDA2B64}"/>
              </c:ext>
            </c:extLst>
          </c:dPt>
          <c:dPt>
            <c:idx val="6"/>
            <c:bubble3D val="0"/>
            <c:spPr>
              <a:solidFill>
                <a:srgbClr val="9180FF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CE07-4D4A-9DE6-D24E0DDA2B64}"/>
              </c:ext>
            </c:extLst>
          </c:dPt>
          <c:dPt>
            <c:idx val="7"/>
            <c:bubble3D val="0"/>
            <c:spPr>
              <a:solidFill>
                <a:srgbClr val="6951FF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CE07-4D4A-9DE6-D24E0DDA2B64}"/>
              </c:ext>
            </c:extLst>
          </c:dPt>
          <c:dPt>
            <c:idx val="8"/>
            <c:bubble3D val="0"/>
            <c:spPr>
              <a:solidFill>
                <a:srgbClr val="3831A0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CE07-4D4A-9DE6-D24E0DDA2B64}"/>
              </c:ext>
            </c:extLst>
          </c:dPt>
          <c:dPt>
            <c:idx val="9"/>
            <c:bubble3D val="0"/>
            <c:spPr>
              <a:solidFill>
                <a:srgbClr val="B436E8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CE07-4D4A-9DE6-D24E0DDA2B64}"/>
              </c:ext>
            </c:extLst>
          </c:dPt>
          <c:dPt>
            <c:idx val="10"/>
            <c:bubble3D val="0"/>
            <c:spPr>
              <a:solidFill>
                <a:srgbClr val="842685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CE07-4D4A-9DE6-D24E0DDA2B64}"/>
              </c:ext>
            </c:extLst>
          </c:dPt>
          <c:dPt>
            <c:idx val="11"/>
            <c:bubble3D val="0"/>
            <c:spPr>
              <a:solidFill>
                <a:srgbClr val="2BA694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CE07-4D4A-9DE6-D24E0DDA2B64}"/>
              </c:ext>
            </c:extLst>
          </c:dPt>
          <c:dPt>
            <c:idx val="12"/>
            <c:bubble3D val="0"/>
            <c:spPr>
              <a:solidFill>
                <a:srgbClr val="01594C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CE07-4D4A-9DE6-D24E0DDA2B64}"/>
              </c:ext>
            </c:extLst>
          </c:dPt>
          <c:dPt>
            <c:idx val="13"/>
            <c:bubble3D val="0"/>
            <c:spPr>
              <a:solidFill>
                <a:srgbClr val="007F6B"/>
              </a:solidFill>
              <a:ln w="635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CE07-4D4A-9DE6-D24E0DDA2B64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E07-4D4A-9DE6-D24E0DDA2B64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E07-4D4A-9DE6-D24E0DDA2B64}"/>
                </c:ext>
              </c:extLst>
            </c:dLbl>
            <c:dLbl>
              <c:idx val="2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E07-4D4A-9DE6-D24E0DDA2B64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E07-4D4A-9DE6-D24E0DDA2B64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E07-4D4A-9DE6-D24E0DDA2B64}"/>
                </c:ext>
              </c:extLst>
            </c:dLbl>
            <c:dLbl>
              <c:idx val="5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E07-4D4A-9DE6-D24E0DDA2B64}"/>
                </c:ext>
              </c:extLst>
            </c:dLbl>
            <c:dLbl>
              <c:idx val="6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E07-4D4A-9DE6-D24E0DDA2B64}"/>
                </c:ext>
              </c:extLst>
            </c:dLbl>
            <c:dLbl>
              <c:idx val="7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E07-4D4A-9DE6-D24E0DDA2B64}"/>
                </c:ext>
              </c:extLst>
            </c:dLbl>
            <c:dLbl>
              <c:idx val="8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E07-4D4A-9DE6-D24E0DDA2B64}"/>
                </c:ext>
              </c:extLst>
            </c:dLbl>
            <c:dLbl>
              <c:idx val="9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E07-4D4A-9DE6-D24E0DDA2B64}"/>
                </c:ext>
              </c:extLst>
            </c:dLbl>
            <c:dLbl>
              <c:idx val="10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E07-4D4A-9DE6-D24E0DDA2B64}"/>
                </c:ext>
              </c:extLst>
            </c:dLbl>
            <c:dLbl>
              <c:idx val="11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E07-4D4A-9DE6-D24E0DDA2B64}"/>
                </c:ext>
              </c:extLst>
            </c:dLbl>
            <c:dLbl>
              <c:idx val="12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E07-4D4A-9DE6-D24E0DDA2B64}"/>
                </c:ext>
              </c:extLst>
            </c:dLbl>
            <c:dLbl>
              <c:idx val="13"/>
              <c:spPr/>
              <c:txPr>
                <a:bodyPr/>
                <a:lstStyle/>
                <a:p>
                  <a:pPr>
                    <a:defRPr sz="900" b="0">
                      <a:solidFill>
                        <a:srgbClr val="FFFFFF"/>
                      </a:solidFill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CE07-4D4A-9DE6-D24E0DDA2B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/>
                </a:pPr>
                <a:endParaRPr lang="zh-CN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>
                  <a:solidFill>
                    <a:srgbClr val="000000"/>
                  </a:solidFill>
                  <a:prstDash val="solid"/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5</c:f>
              <c:strCache>
                <c:ptCount val="14"/>
                <c:pt idx="0">
                  <c:v>DV1</c:v>
                </c:pt>
                <c:pt idx="1">
                  <c:v>DV5</c:v>
                </c:pt>
                <c:pt idx="2">
                  <c:v>DV3</c:v>
                </c:pt>
                <c:pt idx="3">
                  <c:v>DV2</c:v>
                </c:pt>
                <c:pt idx="4">
                  <c:v>DV4</c:v>
                </c:pt>
                <c:pt idx="5">
                  <c:v>DV7</c:v>
                </c:pt>
                <c:pt idx="6">
                  <c:v>DV9</c:v>
                </c:pt>
                <c:pt idx="7">
                  <c:v>DV8</c:v>
                </c:pt>
                <c:pt idx="8">
                  <c:v>DV6</c:v>
                </c:pt>
                <c:pt idx="9">
                  <c:v>DV11</c:v>
                </c:pt>
                <c:pt idx="10">
                  <c:v>DV10</c:v>
                </c:pt>
                <c:pt idx="11">
                  <c:v>DV12</c:v>
                </c:pt>
                <c:pt idx="12">
                  <c:v>DV14</c:v>
                </c:pt>
                <c:pt idx="13">
                  <c:v>DV13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07-4D4A-9DE6-D24E0DDA2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2"/>
          <c:y val="0.11656094690629525"/>
          <c:w val="0.79770088021162966"/>
          <c:h val="0.5565124786090837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B3-4ABC-9F7D-EFD80AC802B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B3-4ABC-9F7D-EFD80AC802B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B3-4ABC-9F7D-EFD80AC802B8}"/>
              </c:ext>
            </c:extLst>
          </c:dPt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FB3-4ABC-9F7D-EFD80AC802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2517171926375443"/>
          <c:w val="0.99453434115780981"/>
          <c:h val="0.171523860645059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2"/>
          <c:y val="0.11656094690629525"/>
          <c:w val="0.79770088021162966"/>
          <c:h val="0.5565124786090837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FB-4030-9C18-8DF34547379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EFB-4030-9C18-8DF34547379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EFB-4030-9C18-8DF34547379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EFB-4030-9C18-8DF34547379D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EFB-4030-9C18-8DF345473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927049984932637"/>
          <c:h val="0.145088499915568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2"/>
          <c:y val="0.11656094690629525"/>
          <c:w val="0.79770088021162966"/>
          <c:h val="0.5565124786090837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FF-4713-86E5-D1F097F412A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CFF-4713-86E5-D1F097F412A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CFF-4713-86E5-D1F097F412A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CFF-4713-86E5-D1F097F412A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CFF-4713-86E5-D1F097F412A9}"/>
              </c:ext>
            </c:extLst>
          </c:dPt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CFF-4713-86E5-D1F097F412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453434115780981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234640678152"/>
          <c:y val="0.11656094690629525"/>
          <c:w val="0.79770088021162966"/>
          <c:h val="0.5565124786090837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6B2-4AD6-BFA0-756FCD9ADEC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6B2-4AD6-BFA0-756FCD9ADEC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6B2-4AD6-BFA0-756FCD9ADE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6B2-4AD6-BFA0-756FCD9ADEC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6B2-4AD6-BFA0-756FCD9ADEC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6B2-4AD6-BFA0-756FCD9ADEC3}"/>
              </c:ext>
            </c:extLst>
          </c:dPt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6B2-4AD6-BFA0-756FCD9AD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892615198248147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03492818510761E-2"/>
          <c:y val="0.19083897729567018"/>
          <c:w val="0.90913595830311589"/>
          <c:h val="0.4966980526035644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B5-4398-9D01-CD4885866B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B5-4398-9D01-CD4885866B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B5-4398-9D01-CD4885866BF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B5-4398-9D01-CD4885866BF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B5-4398-9D01-CD4885866BF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B5-4398-9D01-CD4885866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6157957528036266"/>
          <c:w val="1"/>
          <c:h val="0.13842042471963731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03492818510761E-2"/>
          <c:y val="0.19083897729567018"/>
          <c:w val="0.90913595830311589"/>
          <c:h val="0.4966980526035644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B5-4398-9D01-CD4885866B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B5-4398-9D01-CD4885866B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B5-4398-9D01-CD4885866BF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B5-4398-9D01-CD4885866BF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B5-4398-9D01-CD4885866BF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B5-4398-9D01-CD4885866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6157957528036266"/>
          <c:w val="1"/>
          <c:h val="0.13842042471963731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03492818510761E-2"/>
          <c:y val="0.19083897729567018"/>
          <c:w val="0.90913595830311589"/>
          <c:h val="0.4966980526035644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B5-4398-9D01-CD4885866B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B5-4398-9D01-CD4885866B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B5-4398-9D01-CD4885866BF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B5-4398-9D01-CD4885866BF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B5-4398-9D01-CD4885866BF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B5-4398-9D01-CD4885866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6157957528036266"/>
          <c:w val="1"/>
          <c:h val="0.13842042471963731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03492818510761E-2"/>
          <c:y val="0.19083897729567018"/>
          <c:w val="0.90913595830311589"/>
          <c:h val="0.4966980526035644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B5-4398-9D01-CD4885866B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B5-4398-9D01-CD4885866B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B5-4398-9D01-CD4885866BF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B5-4398-9D01-CD4885866BF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B5-4398-9D01-CD4885866BF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B5-4398-9D01-CD4885866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overlap val="10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8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10"/>
      </c:valAx>
    </c:plotArea>
    <c:legend>
      <c:legendPos val="b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6157957528036266"/>
          <c:w val="1"/>
          <c:h val="0.13842042471963731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5.928121526491293E-3"/>
          <c:y val="0.10590180178990723"/>
          <c:w val="0.98258614301593183"/>
          <c:h val="0.86762277603084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A43-4478-83B6-96D76A5CC98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A43-4478-83B6-96D76A5CC98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A43-4478-83B6-96D76A5CC98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A43-4478-83B6-96D76A5CC985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A43-4478-83B6-96D76A5CC98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A43-4478-83B6-96D76A5CC985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A43-4478-83B6-96D76A5CC985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7A43-4478-83B6-96D76A5CC985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7A43-4478-83B6-96D76A5CC985}"/>
              </c:ext>
            </c:extLst>
          </c:dPt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A43-4478-83B6-96D76A5CC9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A43-4478-83B6-96D76A5CC98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A43-4478-83B6-96D76A5CC98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AEC-4289-AF16-316559938E7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2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3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AEC-4289-AF16-316559938E7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4-E9EF-48D8-9598-D0EBA97E8F16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E9EF-48D8-9598-D0EBA97E8F16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6-E9EF-48D8-9598-D0EBA97E8F16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>
                      <a:latin typeface="+mn-lt"/>
                      <a:ea typeface="+mn-ea"/>
                      <a:cs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7-E9EF-48D8-9598-D0EBA97E8F16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AEC-4289-AF16-316559938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63727232"/>
        <c:axId val="1483136"/>
      </c:barChart>
      <c:catAx>
        <c:axId val="163727232"/>
        <c:scaling>
          <c:orientation val="minMax"/>
        </c:scaling>
        <c:delete val="0"/>
        <c:axPos val="b"/>
        <c:numFmt formatCode="mmm\ yy" sourceLinked="0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483136"/>
        <c:crosses val="autoZero"/>
        <c:auto val="1"/>
        <c:lblAlgn val="ctr"/>
        <c:lblOffset val="100"/>
        <c:noMultiLvlLbl val="0"/>
      </c:catAx>
      <c:valAx>
        <c:axId val="1483136"/>
        <c:scaling>
          <c:orientation val="minMax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63727232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.51574657280474245"/>
          <c:y val="0"/>
          <c:w val="0.48425342719525749"/>
          <c:h val="7.5292776093432628E-2"/>
        </c:manualLayout>
      </c:layout>
      <c:overlay val="0"/>
    </c:legend>
    <c:plotVisOnly val="1"/>
    <c:dispBlanksAs val="gap"/>
    <c:showDLblsOverMax val="0"/>
  </c:chart>
  <c:spPr>
    <a:noFill/>
  </c:spPr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5.9292202830222261E-3"/>
          <c:y val="0.20512820512820512"/>
          <c:w val="0.89531226273635622"/>
          <c:h val="0.755244755244755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18B-4872-A1A5-4E55C071A033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18B-4872-A1A5-4E55C071A033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71-42DB-A137-80263EA08D0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B18B-4872-A1A5-4E55C071A033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B18B-4872-A1A5-4E55C071A033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71-42DB-A137-80263EA08D0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B18B-4872-A1A5-4E55C071A03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DF-4033-B3B0-42D02B6F86E9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71-42DB-A137-80263EA08D0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B18B-4872-A1A5-4E55C071A033}"/>
                </c:ext>
              </c:extLst>
            </c:dLbl>
            <c:dLbl>
              <c:idx val="3"/>
              <c:layout>
                <c:manualLayout>
                  <c:x val="1.4823050707555565E-3"/>
                  <c:y val="0"/>
                </c:manualLayout>
              </c:layout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DF-4033-B3B0-42D02B6F86E9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B8-4C6A-AE47-FA68E62B13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B18B-4872-A1A5-4E55C071A033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B18B-4872-A1A5-4E55C071A033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B8-4C6A-AE47-FA68E62B13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2-B18B-4872-A1A5-4E55C071A033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3-B18B-4872-A1A5-4E55C071A033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4-B18B-4872-A1A5-4E55C071A033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B18B-4872-A1A5-4E55C071A033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4B8-4C6A-AE47-FA68E62B1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tickMarkSkip val="1"/>
        <c:noMultiLvlLbl val="0"/>
      </c:catAx>
      <c:valAx>
        <c:axId val="56222288"/>
        <c:scaling>
          <c:orientation val="minMax"/>
          <c:max val="6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2"/>
      </c:valAx>
    </c:plotArea>
    <c:legend>
      <c:legendPos val="r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.91293313508572915"/>
          <c:y val="3.7296037296037296E-2"/>
          <c:w val="7.8173034489737489E-2"/>
          <c:h val="0.96270396270396275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5.9292202830222261E-3"/>
          <c:y val="0.20584787738716126"/>
          <c:w val="0.89531226273635622"/>
          <c:h val="0.757894457652730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007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5D-42D5-87DA-1C92DDF6FD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598FA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5D-42D5-87DA-1C92DDF6FD3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83FCD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95D-42D5-87DA-1C92DDF6FD3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180FF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</c:v>
                </c:pt>
                <c:pt idx="1">
                  <c:v>4.2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5D-42D5-87DA-1C92DDF6FD3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3831A0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2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3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3.3</c:v>
                </c:pt>
                <c:pt idx="1">
                  <c:v>1.7</c:v>
                </c:pt>
                <c:pt idx="2">
                  <c:v>1.9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95D-42D5-87DA-1C92DDF6FD3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B436E8"/>
            </a:solidFill>
            <a:ln w="635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4-F0BB-494A-A5B9-A94CA175CD87}"/>
                </c:ext>
              </c:extLst>
            </c:dLbl>
            <c:dLbl>
              <c:idx val="1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F0BB-494A-A5B9-A94CA175CD87}"/>
                </c:ext>
              </c:extLst>
            </c:dLbl>
            <c:dLbl>
              <c:idx val="2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6-F0BB-494A-A5B9-A94CA175CD87}"/>
                </c:ext>
              </c:extLst>
            </c:dLbl>
            <c:dLbl>
              <c:idx val="3"/>
              <c:numFmt formatCode="#,##0.0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latin typeface="+mn-lt"/>
                      <a:ea typeface="+mn-ea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7-F0BB-494A-A5B9-A94CA175CD87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1.8</c:v>
                </c:pt>
                <c:pt idx="1">
                  <c:v>0.6</c:v>
                </c:pt>
                <c:pt idx="2">
                  <c:v>0.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95D-42D5-87DA-1C92DDF6F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110179152"/>
        <c:axId val="56222288"/>
      </c:barChart>
      <c:catAx>
        <c:axId val="11017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dk1"/>
            </a:solidFill>
            <a:prstDash val="solid"/>
            <a:round/>
          </a:ln>
          <a:effectLst/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56222288"/>
        <c:crosses val="autoZero"/>
        <c:auto val="1"/>
        <c:lblAlgn val="ctr"/>
        <c:lblOffset val="100"/>
        <c:noMultiLvlLbl val="0"/>
      </c:catAx>
      <c:valAx>
        <c:axId val="56222288"/>
        <c:scaling>
          <c:orientation val="minMax"/>
          <c:max val="6"/>
        </c:scaling>
        <c:delete val="0"/>
        <c:axPos val="l"/>
        <c:majorGridlines>
          <c:spPr>
            <a:ln w="6350">
              <a:solidFill>
                <a:srgbClr val="000000">
                  <a:tint val="70000"/>
                </a:srgb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>
                    <a:tint val="75000"/>
                    <a:shade val="95000"/>
                    <a:satMod val="105000"/>
                  </a:srgbClr>
                </a:solidFill>
                <a:prstDash val="solid"/>
                <a:round/>
              </a14:hiddenLine>
            </a:ext>
          </a:extLst>
        </c:spPr>
        <c:txPr>
          <a:bodyPr/>
          <a:lstStyle/>
          <a:p>
            <a:pPr>
              <a:defRPr sz="1000" b="0">
                <a:latin typeface="+mn-lt"/>
                <a:ea typeface="+mn-lt"/>
                <a:cs typeface="+mn-lt"/>
              </a:defRPr>
            </a:pPr>
            <a:endParaRPr lang="zh-CN"/>
          </a:p>
        </c:txPr>
        <c:crossAx val="110179152"/>
        <c:crosses val="autoZero"/>
        <c:crossBetween val="between"/>
        <c:majorUnit val="2"/>
      </c:valAx>
    </c:plotArea>
    <c:legend>
      <c:legendPos val="r"/>
      <c:legendEntry>
        <c:idx val="0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1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2"/>
        <c:txPr>
          <a:bodyPr rot="0" vert="horz"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3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4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egendEntry>
        <c:idx val="5"/>
        <c:txPr>
          <a:bodyPr/>
          <a:lstStyle/>
          <a:p>
            <a:pPr>
              <a:defRPr>
                <a:latin typeface="+mn-lt"/>
                <a:ea typeface="+mn-ea"/>
              </a:defRPr>
            </a:pPr>
            <a:endParaRPr lang="zh-CN"/>
          </a:p>
        </c:txPr>
      </c:legendEntry>
      <c:layout>
        <c:manualLayout>
          <c:xMode val="edge"/>
          <c:yMode val="edge"/>
          <c:x val="0.91293313508572915"/>
          <c:y val="3.7426886797665683E-2"/>
          <c:w val="7.8173034489737489E-2"/>
          <c:h val="0.9625731132023343"/>
        </c:manualLayout>
      </c:layout>
      <c:overlay val="0"/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</c:spPr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671214991074454"/>
          <c:y val="0.11343837049981031"/>
          <c:w val="0.4828126026971637"/>
          <c:h val="0.6938062694459868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68-49DE-A9AD-A1966FDF67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68-49DE-A9AD-A1966FDF67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68-49DE-A9AD-A1966FDF6778}"/>
              </c:ext>
            </c:extLst>
          </c:dPt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19-4C61-840A-24A4E8135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1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061561726857134"/>
          <c:y val="0.11674278973121802"/>
          <c:w val="0.47821348592916202"/>
          <c:h val="0.6871971707926807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9E-4F36-BBB1-8B45C041041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9E-4F36-BBB1-8B45C04104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9E-4F36-BBB1-8B45C041041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1DC-4F1F-8D81-CE8C8BADABA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1DC-4F1F-8D81-CE8C8BADABA6}"/>
              </c:ext>
            </c:extLst>
          </c:dPt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9E-4F36-BBB1-8B45C0410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79132385234456"/>
          <c:h val="0.14839292000675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800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087"/>
          <c:y val="0.12063917371804762"/>
          <c:w val="0.63665882551800879"/>
          <c:h val="0.5880088058892571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6F-42FE-92FC-DCE1E287B05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6F-42FE-92FC-DCE1E287B05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6F-42FE-92FC-DCE1E287B058}"/>
              </c:ext>
            </c:extLst>
          </c:dPt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6F-42FE-92FC-DCE1E287B0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1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087"/>
          <c:y val="0.12063917371804762"/>
          <c:w val="0.63665882551800879"/>
          <c:h val="0.5880088058892571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84-45FE-BF0F-136F59FB5A0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184-45FE-BF0F-136F59FB5A0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184-45FE-BF0F-136F59FB5A0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369-4822-AE30-05610BEE4A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369-4822-AE30-05610BEE4A80}"/>
              </c:ext>
            </c:extLst>
          </c:dPt>
          <c:cat>
            <c:strRef>
              <c:f>Sheet1!$A$2:$A$6</c:f>
              <c:strCache>
                <c:ptCount val="5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184-45FE-BF0F-136F59FB5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809305142760552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84459031172087"/>
          <c:y val="0.12063917371804762"/>
          <c:w val="0.63665882551800879"/>
          <c:h val="0.5880088058892571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45C-8362-7EC27DADC04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45C-8362-7EC27DADC04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5FF-445C-8362-7EC27DADC04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5FF-445C-8362-7EC27DADC04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5FF-445C-8362-7EC27DADC04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45C-8362-7EC27DADC04D}"/>
              </c:ext>
            </c:extLst>
          </c:dPt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5FF-445C-8362-7EC27DADC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extLst>
          <a:ext uri="{91240B29-F687-4F45-9708-019B960494DF}">
            <a14:hiddenLine xmlns:a14="http://schemas.microsoft.com/office/drawing/2010/main">
              <a:noFill/>
            </a14:hiddenLine>
          </a:ext>
        </a:extLst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"/>
          <c:y val="0.85160707999324547"/>
          <c:w val="0.99809305142760552"/>
          <c:h val="0.14508849991556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</a:ln>
    <a:effectLst/>
    <a:extLst>
      <a:ext uri="{91240B29-F687-4F45-9708-019B960494DF}">
        <a14:hiddenLine xmlns:a14="http://schemas.microsoft.com/office/drawing/2010/main" w="9525" cap="flat" cmpd="sng" algn="ctr">
          <a:noFill/>
          <a:prstDash val="solid"/>
        </a14:hiddenLine>
      </a:ext>
    </a:extLst>
  </c:spPr>
  <c:txPr>
    <a:bodyPr/>
    <a:lstStyle/>
    <a:p>
      <a:pPr>
        <a:defRPr sz="1000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B2CB79-117B-408D-94D0-A59B51B362C6}" type="doc">
      <dgm:prSet loTypeId="urn:microsoft.com/office/officeart/2005/8/layout/cycle6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B06EB18F-36BA-4627-BA26-CCF0586C4A74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一</a:t>
          </a:r>
          <a:endParaRPr lang="en-US" sz="1000" dirty="0">
            <a:solidFill>
              <a:schemeClr val="bg1"/>
            </a:solidFill>
            <a:latin typeface="Noto Sans SC Regular" panose="020B0500000000000000" pitchFamily="34" charset="-122"/>
            <a:ea typeface="Noto Sans SC Regular" panose="020B0500000000000000" pitchFamily="34" charset="-122"/>
          </a:endParaRPr>
        </a:p>
      </dgm:t>
    </dgm:pt>
    <dgm:pt modelId="{DED6AF0A-9A04-4ED9-872B-8212385BDBD8}" type="parTrans" cxnId="{FF2BF522-CBD7-4CFB-A47C-2B319B7133F6}">
      <dgm:prSet/>
      <dgm:spPr/>
      <dgm:t>
        <a:bodyPr/>
        <a:lstStyle/>
        <a:p>
          <a:endParaRPr lang="en-US"/>
        </a:p>
      </dgm:t>
    </dgm:pt>
    <dgm:pt modelId="{F2B56AF8-7647-4FC2-8D01-40A75CFC6497}" type="sibTrans" cxnId="{FF2BF522-CBD7-4CFB-A47C-2B319B7133F6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E52FBE10-9418-4F36-AB04-2993551957DE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二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DBC770B1-B23C-4D93-AE28-93C9E5C7137F}" type="parTrans" cxnId="{7EA2DC7D-76B6-4F1C-8862-AEEFCF26E9C5}">
      <dgm:prSet/>
      <dgm:spPr/>
      <dgm:t>
        <a:bodyPr/>
        <a:lstStyle/>
        <a:p>
          <a:endParaRPr lang="en-US"/>
        </a:p>
      </dgm:t>
    </dgm:pt>
    <dgm:pt modelId="{1299ED51-E89B-4C2E-A7B2-6F903CE1E747}" type="sibTrans" cxnId="{7EA2DC7D-76B6-4F1C-8862-AEEFCF26E9C5}">
      <dgm:prSet/>
      <dgm:spPr>
        <a:ln w="25400">
          <a:noFill/>
          <a:prstDash val="sysDot"/>
        </a:ln>
      </dgm:spPr>
      <dgm:t>
        <a:bodyPr/>
        <a:lstStyle/>
        <a:p>
          <a:endParaRPr lang="en-US"/>
        </a:p>
      </dgm:t>
    </dgm:pt>
    <dgm:pt modelId="{859C5616-21F7-4624-B2DD-7224EA4E34A3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三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726DF701-2FDD-42C1-8C26-3E7F07D9F32F}" type="parTrans" cxnId="{E43DD879-D3E8-4A3E-A50F-E0A9DE0CDB9C}">
      <dgm:prSet/>
      <dgm:spPr/>
      <dgm:t>
        <a:bodyPr/>
        <a:lstStyle/>
        <a:p>
          <a:endParaRPr lang="en-US"/>
        </a:p>
      </dgm:t>
    </dgm:pt>
    <dgm:pt modelId="{E9F883B8-7DB4-4FDD-96FE-15DCF71B2760}" type="sibTrans" cxnId="{E43DD879-D3E8-4A3E-A50F-E0A9DE0CDB9C}">
      <dgm:prSet/>
      <dgm:spPr>
        <a:ln w="25400">
          <a:noFill/>
        </a:ln>
      </dgm:spPr>
      <dgm:t>
        <a:bodyPr/>
        <a:lstStyle/>
        <a:p>
          <a:endParaRPr lang="en-US"/>
        </a:p>
      </dgm:t>
    </dgm:pt>
    <dgm:pt modelId="{09D0AE77-7319-49A7-9182-8B093B287346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四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A2D8829C-FBDB-4477-AEAB-30E91219B526}" type="parTrans" cxnId="{AF910DC7-A6C1-49A4-A937-D76EDE379264}">
      <dgm:prSet/>
      <dgm:spPr/>
      <dgm:t>
        <a:bodyPr/>
        <a:lstStyle/>
        <a:p>
          <a:endParaRPr lang="en-US"/>
        </a:p>
      </dgm:t>
    </dgm:pt>
    <dgm:pt modelId="{EFCF48B6-DF68-4275-87BB-E47E5CEA3F16}" type="sibTrans" cxnId="{AF910DC7-A6C1-49A4-A937-D76EDE379264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24E991DC-696F-475B-9CBA-C1E680AF657F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五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12DCCC61-ED36-4B7B-A7F3-30F1FF8B2E87}" type="parTrans" cxnId="{6E5F688C-780C-4586-9430-3C6B8E04BA41}">
      <dgm:prSet/>
      <dgm:spPr/>
      <dgm:t>
        <a:bodyPr/>
        <a:lstStyle/>
        <a:p>
          <a:endParaRPr lang="en-US"/>
        </a:p>
      </dgm:t>
    </dgm:pt>
    <dgm:pt modelId="{024B629F-BCDA-43BB-8753-372CAB3BE9B2}" type="sibTrans" cxnId="{6E5F688C-780C-4586-9430-3C6B8E04BA41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FE48D595-133A-4776-90C7-F4C2A57AF151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六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5AA31F27-3A08-4A87-B488-51E52AEF13C0}" type="parTrans" cxnId="{C5120760-373B-464A-81AA-BDEB3511B81E}">
      <dgm:prSet/>
      <dgm:spPr/>
      <dgm:t>
        <a:bodyPr/>
        <a:lstStyle/>
        <a:p>
          <a:endParaRPr lang="en-US"/>
        </a:p>
      </dgm:t>
    </dgm:pt>
    <dgm:pt modelId="{263C0F99-926C-403B-97C4-3BE8DD6E58BA}" type="sibTrans" cxnId="{C5120760-373B-464A-81AA-BDEB3511B81E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362A9C0F-F11F-4268-B105-005EE43DEF54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七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DD29DA9C-B78A-4F11-8162-977F5296F5D4}" type="parTrans" cxnId="{F63D468F-BB4A-4229-946B-CFB61ECE0BA4}">
      <dgm:prSet/>
      <dgm:spPr/>
      <dgm:t>
        <a:bodyPr/>
        <a:lstStyle/>
        <a:p>
          <a:endParaRPr lang="en-US"/>
        </a:p>
      </dgm:t>
    </dgm:pt>
    <dgm:pt modelId="{73F25698-1746-49C0-9648-DABDB74EC8D8}" type="sibTrans" cxnId="{F63D468F-BB4A-4229-946B-CFB61ECE0BA4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50612E42-D822-4543-9BBC-89C82AC2CD35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十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394E309B-E402-4491-9270-105CBFA77084}" type="sibTrans" cxnId="{42F7743D-02B9-4956-B951-B113A2EB7E86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170BECE5-6136-422F-B01E-2EC062D75C21}" type="parTrans" cxnId="{42F7743D-02B9-4956-B951-B113A2EB7E86}">
      <dgm:prSet/>
      <dgm:spPr/>
      <dgm:t>
        <a:bodyPr/>
        <a:lstStyle/>
        <a:p>
          <a:endParaRPr lang="en-US"/>
        </a:p>
      </dgm:t>
    </dgm:pt>
    <dgm:pt modelId="{8437F18C-D8D2-4E43-A40E-EDADD85A0473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八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5A2DDF57-EF58-4362-8E11-AB656D20E89D}" type="sibTrans" cxnId="{91A7FCF4-10D7-4163-AF21-C4F30E0EB346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0BE7FB49-AFD4-4284-9F25-2F3CD887B30B}" type="parTrans" cxnId="{91A7FCF4-10D7-4163-AF21-C4F30E0EB346}">
      <dgm:prSet/>
      <dgm:spPr/>
      <dgm:t>
        <a:bodyPr/>
        <a:lstStyle/>
        <a:p>
          <a:endParaRPr lang="en-US"/>
        </a:p>
      </dgm:t>
    </dgm:pt>
    <dgm:pt modelId="{16F93960-4DAC-4E30-9838-FE3B91724CE9}">
      <dgm:prSet phldrT="[Text]" custT="1"/>
      <dgm:spPr>
        <a:solidFill>
          <a:schemeClr val="tx2"/>
        </a:solidFill>
        <a:ln>
          <a:noFill/>
        </a:ln>
      </dgm:spPr>
      <dgm:t>
        <a:bodyPr lIns="18288" tIns="18288" rIns="18288" bIns="18288"/>
        <a:lstStyle/>
        <a:p>
          <a:pPr eaLnBrk="1"/>
          <a:r>
            <a:rPr lang="zh-CN" altLang="en-US" sz="10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九</a:t>
          </a:r>
          <a:endParaRPr lang="en-US" sz="1000" dirty="0">
            <a:solidFill>
              <a:schemeClr val="bg1"/>
            </a:solidFill>
            <a:latin typeface="+mn-lt"/>
            <a:ea typeface="+mn-ea"/>
          </a:endParaRPr>
        </a:p>
      </dgm:t>
    </dgm:pt>
    <dgm:pt modelId="{9E831857-F774-4396-AB22-B1817491ED08}" type="sibTrans" cxnId="{0A5CB47A-B5AE-43C5-AD50-EFE1FDC708B3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C50D4BC8-6049-41B9-B09F-4B5F268C6047}" type="parTrans" cxnId="{0A5CB47A-B5AE-43C5-AD50-EFE1FDC708B3}">
      <dgm:prSet/>
      <dgm:spPr/>
      <dgm:t>
        <a:bodyPr/>
        <a:lstStyle/>
        <a:p>
          <a:endParaRPr lang="en-US"/>
        </a:p>
      </dgm:t>
    </dgm:pt>
    <dgm:pt modelId="{DB950FCD-54F6-461A-AD90-CE835C287DEF}" type="pres">
      <dgm:prSet presAssocID="{C5B2CB79-117B-408D-94D0-A59B51B362C6}" presName="cycle" presStyleCnt="0">
        <dgm:presLayoutVars>
          <dgm:dir/>
          <dgm:resizeHandles val="exact"/>
        </dgm:presLayoutVars>
      </dgm:prSet>
      <dgm:spPr/>
    </dgm:pt>
    <dgm:pt modelId="{8FC8B6E9-55E2-40DF-AB66-7C7733402D9C}" type="pres">
      <dgm:prSet presAssocID="{B06EB18F-36BA-4627-BA26-CCF0586C4A74}" presName="node" presStyleLbl="node1" presStyleIdx="0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C32DDB4B-7C00-4B9F-BEAC-3F9650451B2F}" type="pres">
      <dgm:prSet presAssocID="{B06EB18F-36BA-4627-BA26-CCF0586C4A74}" presName="spNode" presStyleCnt="0"/>
      <dgm:spPr/>
    </dgm:pt>
    <dgm:pt modelId="{18048E85-3ADF-4B79-9624-D064E6DCA554}" type="pres">
      <dgm:prSet presAssocID="{F2B56AF8-7647-4FC2-8D01-40A75CFC6497}" presName="sibTrans" presStyleLbl="sibTrans1D1" presStyleIdx="0" presStyleCnt="10"/>
      <dgm:spPr/>
    </dgm:pt>
    <dgm:pt modelId="{C470C674-D1BF-4B55-B167-06D9E74E2994}" type="pres">
      <dgm:prSet presAssocID="{E52FBE10-9418-4F36-AB04-2993551957DE}" presName="node" presStyleLbl="node1" presStyleIdx="1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6A64FDBF-489D-4C1F-8AAF-5DD1562EDC2B}" type="pres">
      <dgm:prSet presAssocID="{E52FBE10-9418-4F36-AB04-2993551957DE}" presName="spNode" presStyleCnt="0"/>
      <dgm:spPr/>
    </dgm:pt>
    <dgm:pt modelId="{FCF835F6-EDC4-448F-8D28-60DF35A75E46}" type="pres">
      <dgm:prSet presAssocID="{1299ED51-E89B-4C2E-A7B2-6F903CE1E747}" presName="sibTrans" presStyleLbl="sibTrans1D1" presStyleIdx="1" presStyleCnt="10"/>
      <dgm:spPr/>
    </dgm:pt>
    <dgm:pt modelId="{05244729-8F86-4C6C-A4BA-22C363FD2B3A}" type="pres">
      <dgm:prSet presAssocID="{859C5616-21F7-4624-B2DD-7224EA4E34A3}" presName="node" presStyleLbl="node1" presStyleIdx="2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46875B9A-83A9-4B17-8AE9-94B1CF3CF4CF}" type="pres">
      <dgm:prSet presAssocID="{859C5616-21F7-4624-B2DD-7224EA4E34A3}" presName="spNode" presStyleCnt="0"/>
      <dgm:spPr/>
    </dgm:pt>
    <dgm:pt modelId="{F40E9FFA-BE27-435E-84C2-5C7A3D7CF608}" type="pres">
      <dgm:prSet presAssocID="{E9F883B8-7DB4-4FDD-96FE-15DCF71B2760}" presName="sibTrans" presStyleLbl="sibTrans1D1" presStyleIdx="2" presStyleCnt="10"/>
      <dgm:spPr/>
    </dgm:pt>
    <dgm:pt modelId="{89B6D37C-0F49-4AC3-B7B9-F3974B80EB77}" type="pres">
      <dgm:prSet presAssocID="{09D0AE77-7319-49A7-9182-8B093B287346}" presName="node" presStyleLbl="node1" presStyleIdx="3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983771CE-4C0B-4B16-9E37-32FD40333DA9}" type="pres">
      <dgm:prSet presAssocID="{09D0AE77-7319-49A7-9182-8B093B287346}" presName="spNode" presStyleCnt="0"/>
      <dgm:spPr/>
    </dgm:pt>
    <dgm:pt modelId="{789D6A88-5C69-43C2-9EC5-3C9C14CD22BC}" type="pres">
      <dgm:prSet presAssocID="{EFCF48B6-DF68-4275-87BB-E47E5CEA3F16}" presName="sibTrans" presStyleLbl="sibTrans1D1" presStyleIdx="3" presStyleCnt="10"/>
      <dgm:spPr/>
    </dgm:pt>
    <dgm:pt modelId="{9A97C6F1-A71B-472A-B695-6E974962BB31}" type="pres">
      <dgm:prSet presAssocID="{24E991DC-696F-475B-9CBA-C1E680AF657F}" presName="node" presStyleLbl="node1" presStyleIdx="4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C5210565-EC9E-4164-B2DD-9F165E6D32B0}" type="pres">
      <dgm:prSet presAssocID="{24E991DC-696F-475B-9CBA-C1E680AF657F}" presName="spNode" presStyleCnt="0"/>
      <dgm:spPr/>
    </dgm:pt>
    <dgm:pt modelId="{59A46632-A5B1-4FAC-97E5-7E419B79DE82}" type="pres">
      <dgm:prSet presAssocID="{024B629F-BCDA-43BB-8753-372CAB3BE9B2}" presName="sibTrans" presStyleLbl="sibTrans1D1" presStyleIdx="4" presStyleCnt="10"/>
      <dgm:spPr/>
    </dgm:pt>
    <dgm:pt modelId="{F6179664-DB6D-4830-AA21-00FEC118F284}" type="pres">
      <dgm:prSet presAssocID="{FE48D595-133A-4776-90C7-F4C2A57AF151}" presName="node" presStyleLbl="node1" presStyleIdx="5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49B874BC-0B99-484E-8823-80EDC7A9D2A3}" type="pres">
      <dgm:prSet presAssocID="{FE48D595-133A-4776-90C7-F4C2A57AF151}" presName="spNode" presStyleCnt="0"/>
      <dgm:spPr/>
    </dgm:pt>
    <dgm:pt modelId="{F7A42D6C-7DE8-489A-8D67-137E300DDAE8}" type="pres">
      <dgm:prSet presAssocID="{263C0F99-926C-403B-97C4-3BE8DD6E58BA}" presName="sibTrans" presStyleLbl="sibTrans1D1" presStyleIdx="5" presStyleCnt="10"/>
      <dgm:spPr/>
    </dgm:pt>
    <dgm:pt modelId="{1C8294A5-9F04-4E33-A60E-B8E7319403E6}" type="pres">
      <dgm:prSet presAssocID="{362A9C0F-F11F-4268-B105-005EE43DEF54}" presName="node" presStyleLbl="node1" presStyleIdx="6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254D675E-DA13-4FE1-93C6-A646BC9007DD}" type="pres">
      <dgm:prSet presAssocID="{362A9C0F-F11F-4268-B105-005EE43DEF54}" presName="spNode" presStyleCnt="0"/>
      <dgm:spPr/>
    </dgm:pt>
    <dgm:pt modelId="{2D475742-4D9B-4204-8278-3C5AA56FD07B}" type="pres">
      <dgm:prSet presAssocID="{73F25698-1746-49C0-9648-DABDB74EC8D8}" presName="sibTrans" presStyleLbl="sibTrans1D1" presStyleIdx="6" presStyleCnt="10"/>
      <dgm:spPr/>
    </dgm:pt>
    <dgm:pt modelId="{3716EE8B-72EA-4CD0-B19A-599F713E2F8B}" type="pres">
      <dgm:prSet presAssocID="{8437F18C-D8D2-4E43-A40E-EDADD85A0473}" presName="node" presStyleLbl="node1" presStyleIdx="7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01A1F55E-21F6-40B1-8F86-44F43AA8B1A4}" type="pres">
      <dgm:prSet presAssocID="{8437F18C-D8D2-4E43-A40E-EDADD85A0473}" presName="spNode" presStyleCnt="0"/>
      <dgm:spPr/>
    </dgm:pt>
    <dgm:pt modelId="{E98DBE6F-3676-4734-B7AC-B82A0B1E1530}" type="pres">
      <dgm:prSet presAssocID="{5A2DDF57-EF58-4362-8E11-AB656D20E89D}" presName="sibTrans" presStyleLbl="sibTrans1D1" presStyleIdx="7" presStyleCnt="10"/>
      <dgm:spPr/>
    </dgm:pt>
    <dgm:pt modelId="{D45826B3-D8AC-403D-99B5-87C435FAFB34}" type="pres">
      <dgm:prSet presAssocID="{16F93960-4DAC-4E30-9838-FE3B91724CE9}" presName="node" presStyleLbl="node1" presStyleIdx="8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32665907-3E70-47A7-8F1E-AB79D7704B1F}" type="pres">
      <dgm:prSet presAssocID="{16F93960-4DAC-4E30-9838-FE3B91724CE9}" presName="spNode" presStyleCnt="0"/>
      <dgm:spPr/>
    </dgm:pt>
    <dgm:pt modelId="{568018CE-694D-484B-B5AD-8CE2C58CB284}" type="pres">
      <dgm:prSet presAssocID="{9E831857-F774-4396-AB22-B1817491ED08}" presName="sibTrans" presStyleLbl="sibTrans1D1" presStyleIdx="8" presStyleCnt="10"/>
      <dgm:spPr/>
    </dgm:pt>
    <dgm:pt modelId="{ED1F5358-6AA3-4E8F-907C-AC98865A95F7}" type="pres">
      <dgm:prSet presAssocID="{50612E42-D822-4543-9BBC-89C82AC2CD35}" presName="node" presStyleLbl="node1" presStyleIdx="9" presStyleCnt="10" custScaleX="80336" custScaleY="81657">
        <dgm:presLayoutVars>
          <dgm:bulletEnabled val="1"/>
        </dgm:presLayoutVars>
      </dgm:prSet>
      <dgm:spPr>
        <a:prstGeom prst="rect">
          <a:avLst/>
        </a:prstGeom>
      </dgm:spPr>
    </dgm:pt>
    <dgm:pt modelId="{7669DB5E-ED8E-4A3F-905F-C986512730A8}" type="pres">
      <dgm:prSet presAssocID="{50612E42-D822-4543-9BBC-89C82AC2CD35}" presName="spNode" presStyleCnt="0"/>
      <dgm:spPr/>
    </dgm:pt>
    <dgm:pt modelId="{8CA0A993-4F86-4669-8237-B5CACCF2F1FC}" type="pres">
      <dgm:prSet presAssocID="{394E309B-E402-4491-9270-105CBFA77084}" presName="sibTrans" presStyleLbl="sibTrans1D1" presStyleIdx="9" presStyleCnt="10"/>
      <dgm:spPr/>
    </dgm:pt>
  </dgm:ptLst>
  <dgm:cxnLst>
    <dgm:cxn modelId="{DF8D4E0B-915A-47AB-9444-26057DCE1CBA}" type="presOf" srcId="{EFCF48B6-DF68-4275-87BB-E47E5CEA3F16}" destId="{789D6A88-5C69-43C2-9EC5-3C9C14CD22BC}" srcOrd="0" destOrd="0" presId="urn:microsoft.com/office/officeart/2005/8/layout/cycle6"/>
    <dgm:cxn modelId="{7CF8E813-30A5-42B9-B285-0C3EA4B8269F}" type="presOf" srcId="{362A9C0F-F11F-4268-B105-005EE43DEF54}" destId="{1C8294A5-9F04-4E33-A60E-B8E7319403E6}" srcOrd="0" destOrd="0" presId="urn:microsoft.com/office/officeart/2005/8/layout/cycle6"/>
    <dgm:cxn modelId="{D3D30418-DC51-4319-AF23-02563C78E7A4}" type="presOf" srcId="{E9F883B8-7DB4-4FDD-96FE-15DCF71B2760}" destId="{F40E9FFA-BE27-435E-84C2-5C7A3D7CF608}" srcOrd="0" destOrd="0" presId="urn:microsoft.com/office/officeart/2005/8/layout/cycle6"/>
    <dgm:cxn modelId="{3EAB3918-047B-41EF-BC73-8215B377BB29}" type="presOf" srcId="{50612E42-D822-4543-9BBC-89C82AC2CD35}" destId="{ED1F5358-6AA3-4E8F-907C-AC98865A95F7}" srcOrd="0" destOrd="0" presId="urn:microsoft.com/office/officeart/2005/8/layout/cycle6"/>
    <dgm:cxn modelId="{EC78C719-9DEB-499D-869D-3CBAE5F777EC}" type="presOf" srcId="{1299ED51-E89B-4C2E-A7B2-6F903CE1E747}" destId="{FCF835F6-EDC4-448F-8D28-60DF35A75E46}" srcOrd="0" destOrd="0" presId="urn:microsoft.com/office/officeart/2005/8/layout/cycle6"/>
    <dgm:cxn modelId="{FF2BF522-CBD7-4CFB-A47C-2B319B7133F6}" srcId="{C5B2CB79-117B-408D-94D0-A59B51B362C6}" destId="{B06EB18F-36BA-4627-BA26-CCF0586C4A74}" srcOrd="0" destOrd="0" parTransId="{DED6AF0A-9A04-4ED9-872B-8212385BDBD8}" sibTransId="{F2B56AF8-7647-4FC2-8D01-40A75CFC6497}"/>
    <dgm:cxn modelId="{AA565629-FD43-4A45-A0A5-5E6840846AD0}" type="presOf" srcId="{859C5616-21F7-4624-B2DD-7224EA4E34A3}" destId="{05244729-8F86-4C6C-A4BA-22C363FD2B3A}" srcOrd="0" destOrd="0" presId="urn:microsoft.com/office/officeart/2005/8/layout/cycle6"/>
    <dgm:cxn modelId="{7AB3F130-4F9B-4D60-9012-D778D6472B9C}" type="presOf" srcId="{09D0AE77-7319-49A7-9182-8B093B287346}" destId="{89B6D37C-0F49-4AC3-B7B9-F3974B80EB77}" srcOrd="0" destOrd="0" presId="urn:microsoft.com/office/officeart/2005/8/layout/cycle6"/>
    <dgm:cxn modelId="{6558003C-25F4-4E87-A011-2C386D5CB6D1}" type="presOf" srcId="{E52FBE10-9418-4F36-AB04-2993551957DE}" destId="{C470C674-D1BF-4B55-B167-06D9E74E2994}" srcOrd="0" destOrd="0" presId="urn:microsoft.com/office/officeart/2005/8/layout/cycle6"/>
    <dgm:cxn modelId="{42F7743D-02B9-4956-B951-B113A2EB7E86}" srcId="{C5B2CB79-117B-408D-94D0-A59B51B362C6}" destId="{50612E42-D822-4543-9BBC-89C82AC2CD35}" srcOrd="9" destOrd="0" parTransId="{170BECE5-6136-422F-B01E-2EC062D75C21}" sibTransId="{394E309B-E402-4491-9270-105CBFA77084}"/>
    <dgm:cxn modelId="{8A55E85C-53E4-408E-B52F-7D6E7DD54B94}" type="presOf" srcId="{9E831857-F774-4396-AB22-B1817491ED08}" destId="{568018CE-694D-484B-B5AD-8CE2C58CB284}" srcOrd="0" destOrd="0" presId="urn:microsoft.com/office/officeart/2005/8/layout/cycle6"/>
    <dgm:cxn modelId="{C5120760-373B-464A-81AA-BDEB3511B81E}" srcId="{C5B2CB79-117B-408D-94D0-A59B51B362C6}" destId="{FE48D595-133A-4776-90C7-F4C2A57AF151}" srcOrd="5" destOrd="0" parTransId="{5AA31F27-3A08-4A87-B488-51E52AEF13C0}" sibTransId="{263C0F99-926C-403B-97C4-3BE8DD6E58BA}"/>
    <dgm:cxn modelId="{60E1E34E-111E-4AA2-BF7D-2FCEE838F6EB}" type="presOf" srcId="{16F93960-4DAC-4E30-9838-FE3B91724CE9}" destId="{D45826B3-D8AC-403D-99B5-87C435FAFB34}" srcOrd="0" destOrd="0" presId="urn:microsoft.com/office/officeart/2005/8/layout/cycle6"/>
    <dgm:cxn modelId="{FA7F1B4F-957C-408D-B09B-266C2E99D5D4}" type="presOf" srcId="{024B629F-BCDA-43BB-8753-372CAB3BE9B2}" destId="{59A46632-A5B1-4FAC-97E5-7E419B79DE82}" srcOrd="0" destOrd="0" presId="urn:microsoft.com/office/officeart/2005/8/layout/cycle6"/>
    <dgm:cxn modelId="{54892870-1144-401C-946E-02CBA6CD65AE}" type="presOf" srcId="{394E309B-E402-4491-9270-105CBFA77084}" destId="{8CA0A993-4F86-4669-8237-B5CACCF2F1FC}" srcOrd="0" destOrd="0" presId="urn:microsoft.com/office/officeart/2005/8/layout/cycle6"/>
    <dgm:cxn modelId="{E43DD879-D3E8-4A3E-A50F-E0A9DE0CDB9C}" srcId="{C5B2CB79-117B-408D-94D0-A59B51B362C6}" destId="{859C5616-21F7-4624-B2DD-7224EA4E34A3}" srcOrd="2" destOrd="0" parTransId="{726DF701-2FDD-42C1-8C26-3E7F07D9F32F}" sibTransId="{E9F883B8-7DB4-4FDD-96FE-15DCF71B2760}"/>
    <dgm:cxn modelId="{0A5CB47A-B5AE-43C5-AD50-EFE1FDC708B3}" srcId="{C5B2CB79-117B-408D-94D0-A59B51B362C6}" destId="{16F93960-4DAC-4E30-9838-FE3B91724CE9}" srcOrd="8" destOrd="0" parTransId="{C50D4BC8-6049-41B9-B09F-4B5F268C6047}" sibTransId="{9E831857-F774-4396-AB22-B1817491ED08}"/>
    <dgm:cxn modelId="{7EA2DC7D-76B6-4F1C-8862-AEEFCF26E9C5}" srcId="{C5B2CB79-117B-408D-94D0-A59B51B362C6}" destId="{E52FBE10-9418-4F36-AB04-2993551957DE}" srcOrd="1" destOrd="0" parTransId="{DBC770B1-B23C-4D93-AE28-93C9E5C7137F}" sibTransId="{1299ED51-E89B-4C2E-A7B2-6F903CE1E747}"/>
    <dgm:cxn modelId="{6E5F688C-780C-4586-9430-3C6B8E04BA41}" srcId="{C5B2CB79-117B-408D-94D0-A59B51B362C6}" destId="{24E991DC-696F-475B-9CBA-C1E680AF657F}" srcOrd="4" destOrd="0" parTransId="{12DCCC61-ED36-4B7B-A7F3-30F1FF8B2E87}" sibTransId="{024B629F-BCDA-43BB-8753-372CAB3BE9B2}"/>
    <dgm:cxn modelId="{F63D468F-BB4A-4229-946B-CFB61ECE0BA4}" srcId="{C5B2CB79-117B-408D-94D0-A59B51B362C6}" destId="{362A9C0F-F11F-4268-B105-005EE43DEF54}" srcOrd="6" destOrd="0" parTransId="{DD29DA9C-B78A-4F11-8162-977F5296F5D4}" sibTransId="{73F25698-1746-49C0-9648-DABDB74EC8D8}"/>
    <dgm:cxn modelId="{5C5F0F95-DD0F-485C-9A05-CC13FC1E5252}" type="presOf" srcId="{5A2DDF57-EF58-4362-8E11-AB656D20E89D}" destId="{E98DBE6F-3676-4734-B7AC-B82A0B1E1530}" srcOrd="0" destOrd="0" presId="urn:microsoft.com/office/officeart/2005/8/layout/cycle6"/>
    <dgm:cxn modelId="{2CD926A4-24F5-4852-BACB-ED850DBF53E5}" type="presOf" srcId="{24E991DC-696F-475B-9CBA-C1E680AF657F}" destId="{9A97C6F1-A71B-472A-B695-6E974962BB31}" srcOrd="0" destOrd="0" presId="urn:microsoft.com/office/officeart/2005/8/layout/cycle6"/>
    <dgm:cxn modelId="{30FB60A5-804B-4289-BC34-432D49A83720}" type="presOf" srcId="{FE48D595-133A-4776-90C7-F4C2A57AF151}" destId="{F6179664-DB6D-4830-AA21-00FEC118F284}" srcOrd="0" destOrd="0" presId="urn:microsoft.com/office/officeart/2005/8/layout/cycle6"/>
    <dgm:cxn modelId="{652BA7B5-252C-4588-89EE-CECA3AED4417}" type="presOf" srcId="{8437F18C-D8D2-4E43-A40E-EDADD85A0473}" destId="{3716EE8B-72EA-4CD0-B19A-599F713E2F8B}" srcOrd="0" destOrd="0" presId="urn:microsoft.com/office/officeart/2005/8/layout/cycle6"/>
    <dgm:cxn modelId="{372891C4-B9F0-461B-AEED-7B8502EE4347}" type="presOf" srcId="{B06EB18F-36BA-4627-BA26-CCF0586C4A74}" destId="{8FC8B6E9-55E2-40DF-AB66-7C7733402D9C}" srcOrd="0" destOrd="0" presId="urn:microsoft.com/office/officeart/2005/8/layout/cycle6"/>
    <dgm:cxn modelId="{AF910DC7-A6C1-49A4-A937-D76EDE379264}" srcId="{C5B2CB79-117B-408D-94D0-A59B51B362C6}" destId="{09D0AE77-7319-49A7-9182-8B093B287346}" srcOrd="3" destOrd="0" parTransId="{A2D8829C-FBDB-4477-AEAB-30E91219B526}" sibTransId="{EFCF48B6-DF68-4275-87BB-E47E5CEA3F16}"/>
    <dgm:cxn modelId="{35C625CF-DF1C-45CE-95FE-9C0F26A4B07E}" type="presOf" srcId="{263C0F99-926C-403B-97C4-3BE8DD6E58BA}" destId="{F7A42D6C-7DE8-489A-8D67-137E300DDAE8}" srcOrd="0" destOrd="0" presId="urn:microsoft.com/office/officeart/2005/8/layout/cycle6"/>
    <dgm:cxn modelId="{612179EA-B698-43FE-863A-A0D90D7C999C}" type="presOf" srcId="{73F25698-1746-49C0-9648-DABDB74EC8D8}" destId="{2D475742-4D9B-4204-8278-3C5AA56FD07B}" srcOrd="0" destOrd="0" presId="urn:microsoft.com/office/officeart/2005/8/layout/cycle6"/>
    <dgm:cxn modelId="{B6EDA1F3-B7B1-4C08-AED5-BC675538EAD7}" type="presOf" srcId="{F2B56AF8-7647-4FC2-8D01-40A75CFC6497}" destId="{18048E85-3ADF-4B79-9624-D064E6DCA554}" srcOrd="0" destOrd="0" presId="urn:microsoft.com/office/officeart/2005/8/layout/cycle6"/>
    <dgm:cxn modelId="{91A7FCF4-10D7-4163-AF21-C4F30E0EB346}" srcId="{C5B2CB79-117B-408D-94D0-A59B51B362C6}" destId="{8437F18C-D8D2-4E43-A40E-EDADD85A0473}" srcOrd="7" destOrd="0" parTransId="{0BE7FB49-AFD4-4284-9F25-2F3CD887B30B}" sibTransId="{5A2DDF57-EF58-4362-8E11-AB656D20E89D}"/>
    <dgm:cxn modelId="{FDF12BF8-459F-4400-91C0-6812FEBE49B2}" type="presOf" srcId="{C5B2CB79-117B-408D-94D0-A59B51B362C6}" destId="{DB950FCD-54F6-461A-AD90-CE835C287DEF}" srcOrd="0" destOrd="0" presId="urn:microsoft.com/office/officeart/2005/8/layout/cycle6"/>
    <dgm:cxn modelId="{1F0EC6B7-063A-47CB-9732-47574BD593AD}" type="presParOf" srcId="{DB950FCD-54F6-461A-AD90-CE835C287DEF}" destId="{8FC8B6E9-55E2-40DF-AB66-7C7733402D9C}" srcOrd="0" destOrd="0" presId="urn:microsoft.com/office/officeart/2005/8/layout/cycle6"/>
    <dgm:cxn modelId="{C3267F42-C07D-46FD-A370-7D6D057ADAAA}" type="presParOf" srcId="{DB950FCD-54F6-461A-AD90-CE835C287DEF}" destId="{C32DDB4B-7C00-4B9F-BEAC-3F9650451B2F}" srcOrd="1" destOrd="0" presId="urn:microsoft.com/office/officeart/2005/8/layout/cycle6"/>
    <dgm:cxn modelId="{980C0015-6454-4F5C-BAF3-1C73D2A173A4}" type="presParOf" srcId="{DB950FCD-54F6-461A-AD90-CE835C287DEF}" destId="{18048E85-3ADF-4B79-9624-D064E6DCA554}" srcOrd="2" destOrd="0" presId="urn:microsoft.com/office/officeart/2005/8/layout/cycle6"/>
    <dgm:cxn modelId="{66384F91-31C2-45D6-BE97-0C84813D2776}" type="presParOf" srcId="{DB950FCD-54F6-461A-AD90-CE835C287DEF}" destId="{C470C674-D1BF-4B55-B167-06D9E74E2994}" srcOrd="3" destOrd="0" presId="urn:microsoft.com/office/officeart/2005/8/layout/cycle6"/>
    <dgm:cxn modelId="{BD79AF97-B0B4-4F52-9AEC-FAFCAD1A4D88}" type="presParOf" srcId="{DB950FCD-54F6-461A-AD90-CE835C287DEF}" destId="{6A64FDBF-489D-4C1F-8AAF-5DD1562EDC2B}" srcOrd="4" destOrd="0" presId="urn:microsoft.com/office/officeart/2005/8/layout/cycle6"/>
    <dgm:cxn modelId="{72EFE55B-9377-4792-9FAC-65DDBAFAA5D1}" type="presParOf" srcId="{DB950FCD-54F6-461A-AD90-CE835C287DEF}" destId="{FCF835F6-EDC4-448F-8D28-60DF35A75E46}" srcOrd="5" destOrd="0" presId="urn:microsoft.com/office/officeart/2005/8/layout/cycle6"/>
    <dgm:cxn modelId="{3883378D-91EB-4100-B46E-041C38E40CC2}" type="presParOf" srcId="{DB950FCD-54F6-461A-AD90-CE835C287DEF}" destId="{05244729-8F86-4C6C-A4BA-22C363FD2B3A}" srcOrd="6" destOrd="0" presId="urn:microsoft.com/office/officeart/2005/8/layout/cycle6"/>
    <dgm:cxn modelId="{4D2D3BB3-F55B-4362-BB7E-050A6582DEEE}" type="presParOf" srcId="{DB950FCD-54F6-461A-AD90-CE835C287DEF}" destId="{46875B9A-83A9-4B17-8AE9-94B1CF3CF4CF}" srcOrd="7" destOrd="0" presId="urn:microsoft.com/office/officeart/2005/8/layout/cycle6"/>
    <dgm:cxn modelId="{B8D4F1A2-FBA9-43C7-B7B5-9C79BCB2E1AA}" type="presParOf" srcId="{DB950FCD-54F6-461A-AD90-CE835C287DEF}" destId="{F40E9FFA-BE27-435E-84C2-5C7A3D7CF608}" srcOrd="8" destOrd="0" presId="urn:microsoft.com/office/officeart/2005/8/layout/cycle6"/>
    <dgm:cxn modelId="{E53A4130-0222-4968-B938-89D474700E69}" type="presParOf" srcId="{DB950FCD-54F6-461A-AD90-CE835C287DEF}" destId="{89B6D37C-0F49-4AC3-B7B9-F3974B80EB77}" srcOrd="9" destOrd="0" presId="urn:microsoft.com/office/officeart/2005/8/layout/cycle6"/>
    <dgm:cxn modelId="{75E5C3F9-CC03-43CC-B299-AD6BE86967EE}" type="presParOf" srcId="{DB950FCD-54F6-461A-AD90-CE835C287DEF}" destId="{983771CE-4C0B-4B16-9E37-32FD40333DA9}" srcOrd="10" destOrd="0" presId="urn:microsoft.com/office/officeart/2005/8/layout/cycle6"/>
    <dgm:cxn modelId="{BC999555-C993-4DA1-B568-A241CF3FEF76}" type="presParOf" srcId="{DB950FCD-54F6-461A-AD90-CE835C287DEF}" destId="{789D6A88-5C69-43C2-9EC5-3C9C14CD22BC}" srcOrd="11" destOrd="0" presId="urn:microsoft.com/office/officeart/2005/8/layout/cycle6"/>
    <dgm:cxn modelId="{D570AFD4-D7F5-4E92-B24F-234587563758}" type="presParOf" srcId="{DB950FCD-54F6-461A-AD90-CE835C287DEF}" destId="{9A97C6F1-A71B-472A-B695-6E974962BB31}" srcOrd="12" destOrd="0" presId="urn:microsoft.com/office/officeart/2005/8/layout/cycle6"/>
    <dgm:cxn modelId="{58F60A44-DFFF-4780-8810-4E96AA190706}" type="presParOf" srcId="{DB950FCD-54F6-461A-AD90-CE835C287DEF}" destId="{C5210565-EC9E-4164-B2DD-9F165E6D32B0}" srcOrd="13" destOrd="0" presId="urn:microsoft.com/office/officeart/2005/8/layout/cycle6"/>
    <dgm:cxn modelId="{7E559B60-8A63-4393-9DD7-B9C43F026DEA}" type="presParOf" srcId="{DB950FCD-54F6-461A-AD90-CE835C287DEF}" destId="{59A46632-A5B1-4FAC-97E5-7E419B79DE82}" srcOrd="14" destOrd="0" presId="urn:microsoft.com/office/officeart/2005/8/layout/cycle6"/>
    <dgm:cxn modelId="{FF321B36-D884-488D-AA23-ABAF6D109419}" type="presParOf" srcId="{DB950FCD-54F6-461A-AD90-CE835C287DEF}" destId="{F6179664-DB6D-4830-AA21-00FEC118F284}" srcOrd="15" destOrd="0" presId="urn:microsoft.com/office/officeart/2005/8/layout/cycle6"/>
    <dgm:cxn modelId="{B59C4619-DB69-4919-AFF9-0ECD101E00A1}" type="presParOf" srcId="{DB950FCD-54F6-461A-AD90-CE835C287DEF}" destId="{49B874BC-0B99-484E-8823-80EDC7A9D2A3}" srcOrd="16" destOrd="0" presId="urn:microsoft.com/office/officeart/2005/8/layout/cycle6"/>
    <dgm:cxn modelId="{2EF3EA51-B125-4F20-BBED-7BB201B65BF5}" type="presParOf" srcId="{DB950FCD-54F6-461A-AD90-CE835C287DEF}" destId="{F7A42D6C-7DE8-489A-8D67-137E300DDAE8}" srcOrd="17" destOrd="0" presId="urn:microsoft.com/office/officeart/2005/8/layout/cycle6"/>
    <dgm:cxn modelId="{205EFA8B-A5A0-4422-BBB7-394FBCCD7AAF}" type="presParOf" srcId="{DB950FCD-54F6-461A-AD90-CE835C287DEF}" destId="{1C8294A5-9F04-4E33-A60E-B8E7319403E6}" srcOrd="18" destOrd="0" presId="urn:microsoft.com/office/officeart/2005/8/layout/cycle6"/>
    <dgm:cxn modelId="{DFF8939C-18E0-4A24-978A-061B0E2823CC}" type="presParOf" srcId="{DB950FCD-54F6-461A-AD90-CE835C287DEF}" destId="{254D675E-DA13-4FE1-93C6-A646BC9007DD}" srcOrd="19" destOrd="0" presId="urn:microsoft.com/office/officeart/2005/8/layout/cycle6"/>
    <dgm:cxn modelId="{D0691287-5339-46DD-852C-E932DDF7FB79}" type="presParOf" srcId="{DB950FCD-54F6-461A-AD90-CE835C287DEF}" destId="{2D475742-4D9B-4204-8278-3C5AA56FD07B}" srcOrd="20" destOrd="0" presId="urn:microsoft.com/office/officeart/2005/8/layout/cycle6"/>
    <dgm:cxn modelId="{D3A2C9FF-FB72-4A74-BA8D-694C53EF6BC7}" type="presParOf" srcId="{DB950FCD-54F6-461A-AD90-CE835C287DEF}" destId="{3716EE8B-72EA-4CD0-B19A-599F713E2F8B}" srcOrd="21" destOrd="0" presId="urn:microsoft.com/office/officeart/2005/8/layout/cycle6"/>
    <dgm:cxn modelId="{96426C87-60E1-4003-ACB0-512340E0093D}" type="presParOf" srcId="{DB950FCD-54F6-461A-AD90-CE835C287DEF}" destId="{01A1F55E-21F6-40B1-8F86-44F43AA8B1A4}" srcOrd="22" destOrd="0" presId="urn:microsoft.com/office/officeart/2005/8/layout/cycle6"/>
    <dgm:cxn modelId="{41C51F74-99F2-4D0A-9998-DF7280D16633}" type="presParOf" srcId="{DB950FCD-54F6-461A-AD90-CE835C287DEF}" destId="{E98DBE6F-3676-4734-B7AC-B82A0B1E1530}" srcOrd="23" destOrd="0" presId="urn:microsoft.com/office/officeart/2005/8/layout/cycle6"/>
    <dgm:cxn modelId="{FAA79CB3-BF0E-417D-8212-E3211624E575}" type="presParOf" srcId="{DB950FCD-54F6-461A-AD90-CE835C287DEF}" destId="{D45826B3-D8AC-403D-99B5-87C435FAFB34}" srcOrd="24" destOrd="0" presId="urn:microsoft.com/office/officeart/2005/8/layout/cycle6"/>
    <dgm:cxn modelId="{128DCBB0-B37D-480D-A0B8-89424E98A81A}" type="presParOf" srcId="{DB950FCD-54F6-461A-AD90-CE835C287DEF}" destId="{32665907-3E70-47A7-8F1E-AB79D7704B1F}" srcOrd="25" destOrd="0" presId="urn:microsoft.com/office/officeart/2005/8/layout/cycle6"/>
    <dgm:cxn modelId="{FAD1466E-A782-481C-9247-28E8C76B4A00}" type="presParOf" srcId="{DB950FCD-54F6-461A-AD90-CE835C287DEF}" destId="{568018CE-694D-484B-B5AD-8CE2C58CB284}" srcOrd="26" destOrd="0" presId="urn:microsoft.com/office/officeart/2005/8/layout/cycle6"/>
    <dgm:cxn modelId="{12786EEC-24F9-47D8-8291-E33A971402CA}" type="presParOf" srcId="{DB950FCD-54F6-461A-AD90-CE835C287DEF}" destId="{ED1F5358-6AA3-4E8F-907C-AC98865A95F7}" srcOrd="27" destOrd="0" presId="urn:microsoft.com/office/officeart/2005/8/layout/cycle6"/>
    <dgm:cxn modelId="{A34EE795-3507-432B-AF0E-560BADF02905}" type="presParOf" srcId="{DB950FCD-54F6-461A-AD90-CE835C287DEF}" destId="{7669DB5E-ED8E-4A3F-905F-C986512730A8}" srcOrd="28" destOrd="0" presId="urn:microsoft.com/office/officeart/2005/8/layout/cycle6"/>
    <dgm:cxn modelId="{CBD8F5F3-CB6E-4FCA-B185-2D7152ECC403}" type="presParOf" srcId="{DB950FCD-54F6-461A-AD90-CE835C287DEF}" destId="{8CA0A993-4F86-4669-8237-B5CACCF2F1FC}" srcOrd="29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0EB03F-8FA0-4E90-9BE1-2D45C7DE989F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B95B3175-2182-454E-9487-5905782C0C67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1</a:t>
          </a:r>
          <a:endParaRPr lang="en-US" sz="1000" b="0" dirty="0">
            <a:latin typeface="+mn-lt"/>
            <a:ea typeface="+mn-ea"/>
          </a:endParaRPr>
        </a:p>
      </dgm:t>
    </dgm:pt>
    <dgm:pt modelId="{CD3908E7-50A1-4E1B-B00D-AAF0CE54647F}" type="parTrans" cxnId="{BB546E43-910B-4144-ACCD-921B35FCF46F}">
      <dgm:prSet/>
      <dgm:spPr/>
      <dgm:t>
        <a:bodyPr/>
        <a:lstStyle/>
        <a:p>
          <a:endParaRPr lang="en-US"/>
        </a:p>
      </dgm:t>
    </dgm:pt>
    <dgm:pt modelId="{EA8F6248-7046-42FF-BE56-F6BFDFD25B7A}" type="sibTrans" cxnId="{BB546E43-910B-4144-ACCD-921B35FCF46F}">
      <dgm:prSet/>
      <dgm:spPr/>
      <dgm:t>
        <a:bodyPr/>
        <a:lstStyle/>
        <a:p>
          <a:endParaRPr lang="en-US"/>
        </a:p>
      </dgm:t>
    </dgm:pt>
    <dgm:pt modelId="{8F1FC1A6-A5E7-4EB1-80C7-938965480C4D}">
      <dgm:prSet phldrT="[Text]" custT="1"/>
      <dgm:spPr>
        <a:noFill/>
        <a:ln>
          <a:solidFill>
            <a:srgbClr val="0046FF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2</a:t>
          </a:r>
          <a:endParaRPr lang="en-US" sz="1000" b="0" dirty="0">
            <a:latin typeface="+mn-lt"/>
            <a:ea typeface="+mn-ea"/>
          </a:endParaRPr>
        </a:p>
      </dgm:t>
    </dgm:pt>
    <dgm:pt modelId="{5E1560A8-98AD-4C47-8146-90751A3325FF}" type="parTrans" cxnId="{80819DFC-EF7B-4005-B1DC-F4762AE5205B}">
      <dgm:prSet/>
      <dgm:spPr/>
      <dgm:t>
        <a:bodyPr/>
        <a:lstStyle/>
        <a:p>
          <a:endParaRPr lang="en-US"/>
        </a:p>
      </dgm:t>
    </dgm:pt>
    <dgm:pt modelId="{2D463E74-5C24-427C-B36F-E7F3C9C61C3D}" type="sibTrans" cxnId="{80819DFC-EF7B-4005-B1DC-F4762AE5205B}">
      <dgm:prSet/>
      <dgm:spPr/>
      <dgm:t>
        <a:bodyPr/>
        <a:lstStyle/>
        <a:p>
          <a:endParaRPr lang="en-US"/>
        </a:p>
      </dgm:t>
    </dgm:pt>
    <dgm:pt modelId="{3798679C-1BC8-4E12-AED8-E9D06208829F}">
      <dgm:prSet phldrT="[Text]" custT="1"/>
      <dgm:spPr>
        <a:noFill/>
        <a:ln>
          <a:solidFill>
            <a:srgbClr val="5FF9FF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4</a:t>
          </a:r>
          <a:endParaRPr lang="en-US" sz="1000" b="0" dirty="0">
            <a:latin typeface="+mn-lt"/>
            <a:ea typeface="+mn-ea"/>
          </a:endParaRPr>
        </a:p>
      </dgm:t>
    </dgm:pt>
    <dgm:pt modelId="{05ABD5E0-3DF3-4D01-91B0-C08983A7C95B}" type="parTrans" cxnId="{9F58BA81-DC89-47A1-A9CE-01A22FD81EE6}">
      <dgm:prSet/>
      <dgm:spPr/>
      <dgm:t>
        <a:bodyPr/>
        <a:lstStyle/>
        <a:p>
          <a:endParaRPr lang="en-US"/>
        </a:p>
      </dgm:t>
    </dgm:pt>
    <dgm:pt modelId="{C7B31025-EF79-4D00-939C-9B25459E57E6}" type="sibTrans" cxnId="{9F58BA81-DC89-47A1-A9CE-01A22FD81EE6}">
      <dgm:prSet/>
      <dgm:spPr/>
      <dgm:t>
        <a:bodyPr/>
        <a:lstStyle/>
        <a:p>
          <a:endParaRPr lang="en-US"/>
        </a:p>
      </dgm:t>
    </dgm:pt>
    <dgm:pt modelId="{5FCF44FC-6390-41AB-BF06-1E8249C9310D}">
      <dgm:prSet phldrT="[Text]" custT="1"/>
      <dgm:spPr>
        <a:noFill/>
        <a:ln>
          <a:solidFill>
            <a:schemeClr val="accent2"/>
          </a:solidFill>
        </a:ln>
      </dgm:spPr>
      <dgm:t>
        <a:bodyPr/>
        <a:lstStyle/>
        <a:p>
          <a:pPr eaLnBrk="1"/>
          <a:r>
            <a:rPr lang="zh-CN" altLang="en-US" sz="1000" b="0" dirty="0">
              <a:latin typeface="+mn-lt"/>
              <a:ea typeface="+mn-ea"/>
            </a:rPr>
            <a:t>要点</a:t>
          </a:r>
          <a:r>
            <a:rPr lang="en-US" altLang="zh-CN" sz="1000" b="0" dirty="0">
              <a:latin typeface="+mn-lt"/>
              <a:ea typeface="+mn-ea"/>
            </a:rPr>
            <a:t>3</a:t>
          </a:r>
          <a:endParaRPr lang="en-US" sz="1000" b="0" dirty="0">
            <a:latin typeface="+mn-lt"/>
            <a:ea typeface="+mn-ea"/>
          </a:endParaRPr>
        </a:p>
      </dgm:t>
    </dgm:pt>
    <dgm:pt modelId="{075A0E31-AB5F-4440-9B46-6B78064521D1}" type="parTrans" cxnId="{16C41F0D-DC36-46ED-BD5F-D0CAC081B737}">
      <dgm:prSet/>
      <dgm:spPr/>
      <dgm:t>
        <a:bodyPr/>
        <a:lstStyle/>
        <a:p>
          <a:endParaRPr lang="en-US"/>
        </a:p>
      </dgm:t>
    </dgm:pt>
    <dgm:pt modelId="{CD9506AA-E7BC-4E68-98ED-FE2D441AB4CF}" type="sibTrans" cxnId="{16C41F0D-DC36-46ED-BD5F-D0CAC081B737}">
      <dgm:prSet/>
      <dgm:spPr/>
      <dgm:t>
        <a:bodyPr/>
        <a:lstStyle/>
        <a:p>
          <a:endParaRPr lang="en-US"/>
        </a:p>
      </dgm:t>
    </dgm:pt>
    <dgm:pt modelId="{CADA9108-DA68-48B1-90C4-B4E06F26B27C}">
      <dgm:prSet phldrT="[Text]" custT="1"/>
      <dgm:spPr>
        <a:solidFill>
          <a:schemeClr val="accent1">
            <a:alpha val="99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 eaLnBrk="1"/>
          <a:r>
            <a:rPr lang="zh-CN" altLang="en-US" sz="1000" b="0" dirty="0">
              <a:solidFill>
                <a:schemeClr val="bg2"/>
              </a:solidFill>
              <a:latin typeface="+mn-lt"/>
              <a:ea typeface="+mn-ea"/>
            </a:rPr>
            <a:t>要点</a:t>
          </a:r>
          <a:r>
            <a:rPr lang="en-US" altLang="zh-CN" sz="1000" b="0" dirty="0">
              <a:solidFill>
                <a:schemeClr val="bg2"/>
              </a:solidFill>
              <a:latin typeface="+mn-lt"/>
              <a:ea typeface="+mn-ea"/>
            </a:rPr>
            <a:t>5</a:t>
          </a:r>
          <a:endParaRPr lang="en-US" sz="1000" b="0" dirty="0">
            <a:solidFill>
              <a:schemeClr val="bg2"/>
            </a:solidFill>
            <a:latin typeface="+mn-lt"/>
            <a:ea typeface="+mn-ea"/>
          </a:endParaRPr>
        </a:p>
      </dgm:t>
    </dgm:pt>
    <dgm:pt modelId="{378975AA-3AF8-492B-80CD-BB3BFC4C1D2E}" type="parTrans" cxnId="{6114ABF9-31D3-4F45-9050-8C02FD1227C2}">
      <dgm:prSet/>
      <dgm:spPr/>
      <dgm:t>
        <a:bodyPr/>
        <a:lstStyle/>
        <a:p>
          <a:endParaRPr lang="en-US"/>
        </a:p>
      </dgm:t>
    </dgm:pt>
    <dgm:pt modelId="{3F23220B-A438-4DCA-9124-09BB7B961F38}" type="sibTrans" cxnId="{6114ABF9-31D3-4F45-9050-8C02FD1227C2}">
      <dgm:prSet/>
      <dgm:spPr/>
      <dgm:t>
        <a:bodyPr/>
        <a:lstStyle/>
        <a:p>
          <a:endParaRPr lang="en-US"/>
        </a:p>
      </dgm:t>
    </dgm:pt>
    <dgm:pt modelId="{F3B09A13-62A7-4537-85D8-9C8BEE7E6518}" type="pres">
      <dgm:prSet presAssocID="{AF0EB03F-8FA0-4E90-9BE1-2D45C7DE989F}" presName="Name0" presStyleCnt="0">
        <dgm:presLayoutVars>
          <dgm:dir/>
          <dgm:animLvl val="lvl"/>
          <dgm:resizeHandles val="exact"/>
        </dgm:presLayoutVars>
      </dgm:prSet>
      <dgm:spPr/>
    </dgm:pt>
    <dgm:pt modelId="{1689C374-97C1-4BAB-8B10-A7C377411ACA}" type="pres">
      <dgm:prSet presAssocID="{B95B3175-2182-454E-9487-5905782C0C67}" presName="Name8" presStyleCnt="0"/>
      <dgm:spPr/>
    </dgm:pt>
    <dgm:pt modelId="{A333A9C2-D660-4D88-A0D2-68E68F92BDA3}" type="pres">
      <dgm:prSet presAssocID="{B95B3175-2182-454E-9487-5905782C0C67}" presName="level" presStyleLbl="node1" presStyleIdx="0" presStyleCnt="5">
        <dgm:presLayoutVars>
          <dgm:chMax val="1"/>
          <dgm:bulletEnabled val="1"/>
        </dgm:presLayoutVars>
      </dgm:prSet>
      <dgm:spPr/>
    </dgm:pt>
    <dgm:pt modelId="{3CCB7EAD-7E35-4EF7-BCD0-A28F2A92D5E4}" type="pres">
      <dgm:prSet presAssocID="{B95B3175-2182-454E-9487-5905782C0C6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4820C20-9D36-4612-902F-CEABC1D4F7C8}" type="pres">
      <dgm:prSet presAssocID="{8F1FC1A6-A5E7-4EB1-80C7-938965480C4D}" presName="Name8" presStyleCnt="0"/>
      <dgm:spPr/>
    </dgm:pt>
    <dgm:pt modelId="{E64D5911-C055-4780-A124-2EC964666F62}" type="pres">
      <dgm:prSet presAssocID="{8F1FC1A6-A5E7-4EB1-80C7-938965480C4D}" presName="level" presStyleLbl="node1" presStyleIdx="1" presStyleCnt="5">
        <dgm:presLayoutVars>
          <dgm:chMax val="1"/>
          <dgm:bulletEnabled val="1"/>
        </dgm:presLayoutVars>
      </dgm:prSet>
      <dgm:spPr/>
    </dgm:pt>
    <dgm:pt modelId="{C039D620-023E-4999-85F6-B119C0295137}" type="pres">
      <dgm:prSet presAssocID="{8F1FC1A6-A5E7-4EB1-80C7-938965480C4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BCF184D-3953-4569-87C9-00E27B33A1D0}" type="pres">
      <dgm:prSet presAssocID="{5FCF44FC-6390-41AB-BF06-1E8249C9310D}" presName="Name8" presStyleCnt="0"/>
      <dgm:spPr/>
    </dgm:pt>
    <dgm:pt modelId="{53077FF9-6876-4110-9E03-B974EE4A6039}" type="pres">
      <dgm:prSet presAssocID="{5FCF44FC-6390-41AB-BF06-1E8249C9310D}" presName="level" presStyleLbl="node1" presStyleIdx="2" presStyleCnt="5">
        <dgm:presLayoutVars>
          <dgm:chMax val="1"/>
          <dgm:bulletEnabled val="1"/>
        </dgm:presLayoutVars>
      </dgm:prSet>
      <dgm:spPr/>
    </dgm:pt>
    <dgm:pt modelId="{6D3B77B9-4421-4F12-9895-11C2673D6002}" type="pres">
      <dgm:prSet presAssocID="{5FCF44FC-6390-41AB-BF06-1E8249C9310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841C6BA-9B52-488C-A8E0-25C0EC86565B}" type="pres">
      <dgm:prSet presAssocID="{3798679C-1BC8-4E12-AED8-E9D06208829F}" presName="Name8" presStyleCnt="0"/>
      <dgm:spPr/>
    </dgm:pt>
    <dgm:pt modelId="{217FE5F7-91D7-4C51-A51D-306650A6C51F}" type="pres">
      <dgm:prSet presAssocID="{3798679C-1BC8-4E12-AED8-E9D06208829F}" presName="level" presStyleLbl="node1" presStyleIdx="3" presStyleCnt="5">
        <dgm:presLayoutVars>
          <dgm:chMax val="1"/>
          <dgm:bulletEnabled val="1"/>
        </dgm:presLayoutVars>
      </dgm:prSet>
      <dgm:spPr/>
    </dgm:pt>
    <dgm:pt modelId="{06EFB117-B174-42A0-B7C1-4051C5EF85E3}" type="pres">
      <dgm:prSet presAssocID="{3798679C-1BC8-4E12-AED8-E9D06208829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A31C065-5418-42C5-963A-1576AB5B7ECF}" type="pres">
      <dgm:prSet presAssocID="{CADA9108-DA68-48B1-90C4-B4E06F26B27C}" presName="Name8" presStyleCnt="0"/>
      <dgm:spPr/>
    </dgm:pt>
    <dgm:pt modelId="{80DACBE6-9C5D-4BE8-91C0-8925F0F2E228}" type="pres">
      <dgm:prSet presAssocID="{CADA9108-DA68-48B1-90C4-B4E06F26B27C}" presName="level" presStyleLbl="node1" presStyleIdx="4" presStyleCnt="5">
        <dgm:presLayoutVars>
          <dgm:chMax val="1"/>
          <dgm:bulletEnabled val="1"/>
        </dgm:presLayoutVars>
      </dgm:prSet>
      <dgm:spPr/>
    </dgm:pt>
    <dgm:pt modelId="{A4E72D31-7A2E-4CA5-92D5-2AB01DE0B716}" type="pres">
      <dgm:prSet presAssocID="{CADA9108-DA68-48B1-90C4-B4E06F26B27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3CF08-81F1-4F2F-A9A9-9D2E3BAD5856}" type="presOf" srcId="{CADA9108-DA68-48B1-90C4-B4E06F26B27C}" destId="{80DACBE6-9C5D-4BE8-91C0-8925F0F2E228}" srcOrd="0" destOrd="0" presId="urn:microsoft.com/office/officeart/2005/8/layout/pyramid3"/>
    <dgm:cxn modelId="{16C41F0D-DC36-46ED-BD5F-D0CAC081B737}" srcId="{AF0EB03F-8FA0-4E90-9BE1-2D45C7DE989F}" destId="{5FCF44FC-6390-41AB-BF06-1E8249C9310D}" srcOrd="2" destOrd="0" parTransId="{075A0E31-AB5F-4440-9B46-6B78064521D1}" sibTransId="{CD9506AA-E7BC-4E68-98ED-FE2D441AB4CF}"/>
    <dgm:cxn modelId="{906CA918-CA0A-465F-9B55-61930AD8825A}" type="presOf" srcId="{3798679C-1BC8-4E12-AED8-E9D06208829F}" destId="{06EFB117-B174-42A0-B7C1-4051C5EF85E3}" srcOrd="1" destOrd="0" presId="urn:microsoft.com/office/officeart/2005/8/layout/pyramid3"/>
    <dgm:cxn modelId="{9D420D37-899E-43CA-AB78-D2EA5A41695F}" type="presOf" srcId="{5FCF44FC-6390-41AB-BF06-1E8249C9310D}" destId="{53077FF9-6876-4110-9E03-B974EE4A6039}" srcOrd="0" destOrd="0" presId="urn:microsoft.com/office/officeart/2005/8/layout/pyramid3"/>
    <dgm:cxn modelId="{BB546E43-910B-4144-ACCD-921B35FCF46F}" srcId="{AF0EB03F-8FA0-4E90-9BE1-2D45C7DE989F}" destId="{B95B3175-2182-454E-9487-5905782C0C67}" srcOrd="0" destOrd="0" parTransId="{CD3908E7-50A1-4E1B-B00D-AAF0CE54647F}" sibTransId="{EA8F6248-7046-42FF-BE56-F6BFDFD25B7A}"/>
    <dgm:cxn modelId="{17862569-3B45-4058-8E98-643F2E45E20B}" type="presOf" srcId="{AF0EB03F-8FA0-4E90-9BE1-2D45C7DE989F}" destId="{F3B09A13-62A7-4537-85D8-9C8BEE7E6518}" srcOrd="0" destOrd="0" presId="urn:microsoft.com/office/officeart/2005/8/layout/pyramid3"/>
    <dgm:cxn modelId="{A928456B-89E2-4ACB-97E8-85C5661F9103}" type="presOf" srcId="{5FCF44FC-6390-41AB-BF06-1E8249C9310D}" destId="{6D3B77B9-4421-4F12-9895-11C2673D6002}" srcOrd="1" destOrd="0" presId="urn:microsoft.com/office/officeart/2005/8/layout/pyramid3"/>
    <dgm:cxn modelId="{9F58BA81-DC89-47A1-A9CE-01A22FD81EE6}" srcId="{AF0EB03F-8FA0-4E90-9BE1-2D45C7DE989F}" destId="{3798679C-1BC8-4E12-AED8-E9D06208829F}" srcOrd="3" destOrd="0" parTransId="{05ABD5E0-3DF3-4D01-91B0-C08983A7C95B}" sibTransId="{C7B31025-EF79-4D00-939C-9B25459E57E6}"/>
    <dgm:cxn modelId="{C841098C-130A-49F0-BB07-DB57AD72F51A}" type="presOf" srcId="{3798679C-1BC8-4E12-AED8-E9D06208829F}" destId="{217FE5F7-91D7-4C51-A51D-306650A6C51F}" srcOrd="0" destOrd="0" presId="urn:microsoft.com/office/officeart/2005/8/layout/pyramid3"/>
    <dgm:cxn modelId="{A302AA95-CAFD-4727-811B-2B08E21D17B7}" type="presOf" srcId="{CADA9108-DA68-48B1-90C4-B4E06F26B27C}" destId="{A4E72D31-7A2E-4CA5-92D5-2AB01DE0B716}" srcOrd="1" destOrd="0" presId="urn:microsoft.com/office/officeart/2005/8/layout/pyramid3"/>
    <dgm:cxn modelId="{D96279B1-2052-475F-9DFA-AFAF08C2DD09}" type="presOf" srcId="{B95B3175-2182-454E-9487-5905782C0C67}" destId="{A333A9C2-D660-4D88-A0D2-68E68F92BDA3}" srcOrd="0" destOrd="0" presId="urn:microsoft.com/office/officeart/2005/8/layout/pyramid3"/>
    <dgm:cxn modelId="{CAFFC7B7-A019-4440-A20E-7AE72BB4F71C}" type="presOf" srcId="{B95B3175-2182-454E-9487-5905782C0C67}" destId="{3CCB7EAD-7E35-4EF7-BCD0-A28F2A92D5E4}" srcOrd="1" destOrd="0" presId="urn:microsoft.com/office/officeart/2005/8/layout/pyramid3"/>
    <dgm:cxn modelId="{A29783CA-2A48-4736-B950-C2FF8603D010}" type="presOf" srcId="{8F1FC1A6-A5E7-4EB1-80C7-938965480C4D}" destId="{E64D5911-C055-4780-A124-2EC964666F62}" srcOrd="0" destOrd="0" presId="urn:microsoft.com/office/officeart/2005/8/layout/pyramid3"/>
    <dgm:cxn modelId="{5F0C49F3-A28C-4790-86AC-A27C5293507A}" type="presOf" srcId="{8F1FC1A6-A5E7-4EB1-80C7-938965480C4D}" destId="{C039D620-023E-4999-85F6-B119C0295137}" srcOrd="1" destOrd="0" presId="urn:microsoft.com/office/officeart/2005/8/layout/pyramid3"/>
    <dgm:cxn modelId="{6114ABF9-31D3-4F45-9050-8C02FD1227C2}" srcId="{AF0EB03F-8FA0-4E90-9BE1-2D45C7DE989F}" destId="{CADA9108-DA68-48B1-90C4-B4E06F26B27C}" srcOrd="4" destOrd="0" parTransId="{378975AA-3AF8-492B-80CD-BB3BFC4C1D2E}" sibTransId="{3F23220B-A438-4DCA-9124-09BB7B961F38}"/>
    <dgm:cxn modelId="{80819DFC-EF7B-4005-B1DC-F4762AE5205B}" srcId="{AF0EB03F-8FA0-4E90-9BE1-2D45C7DE989F}" destId="{8F1FC1A6-A5E7-4EB1-80C7-938965480C4D}" srcOrd="1" destOrd="0" parTransId="{5E1560A8-98AD-4C47-8146-90751A3325FF}" sibTransId="{2D463E74-5C24-427C-B36F-E7F3C9C61C3D}"/>
    <dgm:cxn modelId="{9056031D-22F6-4B11-BA1E-BFC7A9D7974D}" type="presParOf" srcId="{F3B09A13-62A7-4537-85D8-9C8BEE7E6518}" destId="{1689C374-97C1-4BAB-8B10-A7C377411ACA}" srcOrd="0" destOrd="0" presId="urn:microsoft.com/office/officeart/2005/8/layout/pyramid3"/>
    <dgm:cxn modelId="{2CA28FDB-C306-47F7-B739-6D83E7797FF1}" type="presParOf" srcId="{1689C374-97C1-4BAB-8B10-A7C377411ACA}" destId="{A333A9C2-D660-4D88-A0D2-68E68F92BDA3}" srcOrd="0" destOrd="0" presId="urn:microsoft.com/office/officeart/2005/8/layout/pyramid3"/>
    <dgm:cxn modelId="{83F792C1-3289-4D94-908A-B165250B7D88}" type="presParOf" srcId="{1689C374-97C1-4BAB-8B10-A7C377411ACA}" destId="{3CCB7EAD-7E35-4EF7-BCD0-A28F2A92D5E4}" srcOrd="1" destOrd="0" presId="urn:microsoft.com/office/officeart/2005/8/layout/pyramid3"/>
    <dgm:cxn modelId="{CF006006-6CAC-4793-900B-FE309ACE4A65}" type="presParOf" srcId="{F3B09A13-62A7-4537-85D8-9C8BEE7E6518}" destId="{C4820C20-9D36-4612-902F-CEABC1D4F7C8}" srcOrd="1" destOrd="0" presId="urn:microsoft.com/office/officeart/2005/8/layout/pyramid3"/>
    <dgm:cxn modelId="{48FD25F3-F08E-4775-8CEE-EF263A502284}" type="presParOf" srcId="{C4820C20-9D36-4612-902F-CEABC1D4F7C8}" destId="{E64D5911-C055-4780-A124-2EC964666F62}" srcOrd="0" destOrd="0" presId="urn:microsoft.com/office/officeart/2005/8/layout/pyramid3"/>
    <dgm:cxn modelId="{26CDFCF7-13DC-46DB-ADBE-EDFA9009A770}" type="presParOf" srcId="{C4820C20-9D36-4612-902F-CEABC1D4F7C8}" destId="{C039D620-023E-4999-85F6-B119C0295137}" srcOrd="1" destOrd="0" presId="urn:microsoft.com/office/officeart/2005/8/layout/pyramid3"/>
    <dgm:cxn modelId="{30DDC6C6-AD5B-4944-AAD7-6D6E688A99CC}" type="presParOf" srcId="{F3B09A13-62A7-4537-85D8-9C8BEE7E6518}" destId="{DBCF184D-3953-4569-87C9-00E27B33A1D0}" srcOrd="2" destOrd="0" presId="urn:microsoft.com/office/officeart/2005/8/layout/pyramid3"/>
    <dgm:cxn modelId="{6878EE5F-5229-47D2-B8AF-5DD740B5A5A0}" type="presParOf" srcId="{DBCF184D-3953-4569-87C9-00E27B33A1D0}" destId="{53077FF9-6876-4110-9E03-B974EE4A6039}" srcOrd="0" destOrd="0" presId="urn:microsoft.com/office/officeart/2005/8/layout/pyramid3"/>
    <dgm:cxn modelId="{6DE95D5D-8F66-4D43-A037-86D126AB7C5E}" type="presParOf" srcId="{DBCF184D-3953-4569-87C9-00E27B33A1D0}" destId="{6D3B77B9-4421-4F12-9895-11C2673D6002}" srcOrd="1" destOrd="0" presId="urn:microsoft.com/office/officeart/2005/8/layout/pyramid3"/>
    <dgm:cxn modelId="{F466631B-E37D-4A0F-9E17-75BA1FCC8DD0}" type="presParOf" srcId="{F3B09A13-62A7-4537-85D8-9C8BEE7E6518}" destId="{4841C6BA-9B52-488C-A8E0-25C0EC86565B}" srcOrd="3" destOrd="0" presId="urn:microsoft.com/office/officeart/2005/8/layout/pyramid3"/>
    <dgm:cxn modelId="{6F114AB7-CE50-4A24-B558-203E81089616}" type="presParOf" srcId="{4841C6BA-9B52-488C-A8E0-25C0EC86565B}" destId="{217FE5F7-91D7-4C51-A51D-306650A6C51F}" srcOrd="0" destOrd="0" presId="urn:microsoft.com/office/officeart/2005/8/layout/pyramid3"/>
    <dgm:cxn modelId="{3B51F43D-F373-4AA7-B7D3-FA8F81AC7639}" type="presParOf" srcId="{4841C6BA-9B52-488C-A8E0-25C0EC86565B}" destId="{06EFB117-B174-42A0-B7C1-4051C5EF85E3}" srcOrd="1" destOrd="0" presId="urn:microsoft.com/office/officeart/2005/8/layout/pyramid3"/>
    <dgm:cxn modelId="{D18078B3-0F5B-4C3C-B72B-3CF5357CFCDB}" type="presParOf" srcId="{F3B09A13-62A7-4537-85D8-9C8BEE7E6518}" destId="{8A31C065-5418-42C5-963A-1576AB5B7ECF}" srcOrd="4" destOrd="0" presId="urn:microsoft.com/office/officeart/2005/8/layout/pyramid3"/>
    <dgm:cxn modelId="{68FF0F17-5AC5-4086-9441-83CD435C5D55}" type="presParOf" srcId="{8A31C065-5418-42C5-963A-1576AB5B7ECF}" destId="{80DACBE6-9C5D-4BE8-91C0-8925F0F2E228}" srcOrd="0" destOrd="0" presId="urn:microsoft.com/office/officeart/2005/8/layout/pyramid3"/>
    <dgm:cxn modelId="{DF242DBF-B06C-44C3-B52D-CDC77CAC3F66}" type="presParOf" srcId="{8A31C065-5418-42C5-963A-1576AB5B7ECF}" destId="{A4E72D31-7A2E-4CA5-92D5-2AB01DE0B716}" srcOrd="1" destOrd="0" presId="urn:microsoft.com/office/officeart/2005/8/layout/pyramid3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C8B6E9-55E2-40DF-AB66-7C7733402D9C}">
      <dsp:nvSpPr>
        <dsp:cNvPr id="0" name=""/>
        <dsp:cNvSpPr/>
      </dsp:nvSpPr>
      <dsp:spPr>
        <a:xfrm>
          <a:off x="3012301" y="44601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一</a:t>
          </a:r>
          <a:endParaRPr lang="en-US" sz="1000" kern="1200" dirty="0">
            <a:solidFill>
              <a:schemeClr val="bg1"/>
            </a:solidFill>
            <a:latin typeface="Noto Sans SC Regular" panose="020B0500000000000000" pitchFamily="34" charset="-122"/>
            <a:ea typeface="Noto Sans SC Regular" panose="020B0500000000000000" pitchFamily="34" charset="-122"/>
          </a:endParaRPr>
        </a:p>
      </dsp:txBody>
      <dsp:txXfrm>
        <a:off x="3012301" y="44601"/>
        <a:ext cx="583203" cy="385315"/>
      </dsp:txXfrm>
    </dsp:sp>
    <dsp:sp modelId="{18048E85-3ADF-4B79-9624-D064E6DCA554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2262867" y="22651"/>
              </a:moveTo>
              <a:arcTo wR="1965342" hR="1965342" stAng="16722435" swAng="1031073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70C674-D1BF-4B55-B167-06D9E74E2994}">
      <dsp:nvSpPr>
        <dsp:cNvPr id="0" name=""/>
        <dsp:cNvSpPr/>
      </dsp:nvSpPr>
      <dsp:spPr>
        <a:xfrm>
          <a:off x="4167500" y="419948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二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167500" y="419948"/>
        <a:ext cx="583203" cy="385315"/>
      </dsp:txXfrm>
    </dsp:sp>
    <dsp:sp modelId="{FCF835F6-EDC4-448F-8D28-60DF35A75E46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3352531" y="573121"/>
              </a:moveTo>
              <a:arcTo wR="1965342" hR="1965342" stAng="18893776" swAng="1252361"/>
            </a:path>
          </a:pathLst>
        </a:custGeom>
        <a:noFill/>
        <a:ln w="25400" cap="flat" cmpd="sng" algn="ctr">
          <a:noFill/>
          <a:prstDash val="sysDot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244729-8F86-4C6C-A4BA-22C363FD2B3A}">
      <dsp:nvSpPr>
        <dsp:cNvPr id="0" name=""/>
        <dsp:cNvSpPr/>
      </dsp:nvSpPr>
      <dsp:spPr>
        <a:xfrm>
          <a:off x="4881453" y="1402619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三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881453" y="1402619"/>
        <a:ext cx="583203" cy="385315"/>
      </dsp:txXfrm>
    </dsp:sp>
    <dsp:sp modelId="{F40E9FFA-BE27-435E-84C2-5C7A3D7CF608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3888175" y="1558786"/>
              </a:moveTo>
              <a:arcTo wR="1965342" hR="1965342" stAng="20883686" swAng="1432628"/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B6D37C-0F49-4AC3-B7B9-F3974B80EB77}">
      <dsp:nvSpPr>
        <dsp:cNvPr id="0" name=""/>
        <dsp:cNvSpPr/>
      </dsp:nvSpPr>
      <dsp:spPr>
        <a:xfrm>
          <a:off x="4881453" y="2617268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四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881453" y="2617268"/>
        <a:ext cx="583203" cy="385315"/>
      </dsp:txXfrm>
    </dsp:sp>
    <dsp:sp modelId="{789D6A88-5C69-43C2-9EC5-3C9C14CD22BC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3757534" y="2771953"/>
              </a:moveTo>
              <a:arcTo wR="1965342" hR="1965342" stAng="1453863" swAng="1252361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97C6F1-A71B-472A-B695-6E974962BB31}">
      <dsp:nvSpPr>
        <dsp:cNvPr id="0" name=""/>
        <dsp:cNvSpPr/>
      </dsp:nvSpPr>
      <dsp:spPr>
        <a:xfrm>
          <a:off x="4167500" y="3599940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五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4167500" y="3599940"/>
        <a:ext cx="583203" cy="385315"/>
      </dsp:txXfrm>
    </dsp:sp>
    <dsp:sp modelId="{59A46632-A5B1-4FAC-97E5-7E419B79DE82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2823555" y="3733405"/>
              </a:moveTo>
              <a:arcTo wR="1965342" hR="1965342" stAng="3846492" swAng="1031073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79664-DB6D-4830-AA21-00FEC118F284}">
      <dsp:nvSpPr>
        <dsp:cNvPr id="0" name=""/>
        <dsp:cNvSpPr/>
      </dsp:nvSpPr>
      <dsp:spPr>
        <a:xfrm>
          <a:off x="3012301" y="3975287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六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3012301" y="3975287"/>
        <a:ext cx="583203" cy="385315"/>
      </dsp:txXfrm>
    </dsp:sp>
    <dsp:sp modelId="{F7A42D6C-7DE8-489A-8D67-137E300DDAE8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1667817" y="3908034"/>
              </a:moveTo>
              <a:arcTo wR="1965342" hR="1965342" stAng="5922435" swAng="1031073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8294A5-9F04-4E33-A60E-B8E7319403E6}">
      <dsp:nvSpPr>
        <dsp:cNvPr id="0" name=""/>
        <dsp:cNvSpPr/>
      </dsp:nvSpPr>
      <dsp:spPr>
        <a:xfrm>
          <a:off x="1857101" y="3599940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七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857101" y="3599940"/>
        <a:ext cx="583203" cy="385315"/>
      </dsp:txXfrm>
    </dsp:sp>
    <dsp:sp modelId="{2D475742-4D9B-4204-8278-3C5AA56FD07B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578154" y="3357564"/>
              </a:moveTo>
              <a:arcTo wR="1965342" hR="1965342" stAng="8093776" swAng="1252361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16EE8B-72EA-4CD0-B19A-599F713E2F8B}">
      <dsp:nvSpPr>
        <dsp:cNvPr id="0" name=""/>
        <dsp:cNvSpPr/>
      </dsp:nvSpPr>
      <dsp:spPr>
        <a:xfrm>
          <a:off x="1143149" y="2617268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八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143149" y="2617268"/>
        <a:ext cx="583203" cy="385315"/>
      </dsp:txXfrm>
    </dsp:sp>
    <dsp:sp modelId="{E98DBE6F-3676-4734-B7AC-B82A0B1E1530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42510" y="2371899"/>
              </a:moveTo>
              <a:arcTo wR="1965342" hR="1965342" stAng="10083686" swAng="1432628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5826B3-D8AC-403D-99B5-87C435FAFB34}">
      <dsp:nvSpPr>
        <dsp:cNvPr id="0" name=""/>
        <dsp:cNvSpPr/>
      </dsp:nvSpPr>
      <dsp:spPr>
        <a:xfrm>
          <a:off x="1143149" y="1402619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九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143149" y="1402619"/>
        <a:ext cx="583203" cy="385315"/>
      </dsp:txXfrm>
    </dsp:sp>
    <dsp:sp modelId="{568018CE-694D-484B-B5AD-8CE2C58CB284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173151" y="1158732"/>
              </a:moveTo>
              <a:arcTo wR="1965342" hR="1965342" stAng="12253863" swAng="1252361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1F5358-6AA3-4E8F-907C-AC98865A95F7}">
      <dsp:nvSpPr>
        <dsp:cNvPr id="0" name=""/>
        <dsp:cNvSpPr/>
      </dsp:nvSpPr>
      <dsp:spPr>
        <a:xfrm>
          <a:off x="1857101" y="419948"/>
          <a:ext cx="583203" cy="385315"/>
        </a:xfrm>
        <a:prstGeom prst="rect">
          <a:avLst/>
        </a:prstGeom>
        <a:solidFill>
          <a:schemeClr val="tx2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" tIns="18288" rIns="18288" bIns="18288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kern="1200" dirty="0">
              <a:solidFill>
                <a:schemeClr val="bg1"/>
              </a:solidFill>
              <a:latin typeface="Noto Sans SC Regular" panose="020B0500000000000000" pitchFamily="34" charset="-122"/>
              <a:ea typeface="Noto Sans SC Regular" panose="020B0500000000000000" pitchFamily="34" charset="-122"/>
            </a:rPr>
            <a:t>要点十</a:t>
          </a:r>
          <a:endParaRPr lang="en-US" sz="1000" kern="1200" dirty="0">
            <a:solidFill>
              <a:schemeClr val="bg1"/>
            </a:solidFill>
            <a:latin typeface="+mn-lt"/>
            <a:ea typeface="+mn-ea"/>
          </a:endParaRPr>
        </a:p>
      </dsp:txBody>
      <dsp:txXfrm>
        <a:off x="1857101" y="419948"/>
        <a:ext cx="583203" cy="385315"/>
      </dsp:txXfrm>
    </dsp:sp>
    <dsp:sp modelId="{8CA0A993-4F86-4669-8237-B5CACCF2F1FC}">
      <dsp:nvSpPr>
        <dsp:cNvPr id="0" name=""/>
        <dsp:cNvSpPr/>
      </dsp:nvSpPr>
      <dsp:spPr>
        <a:xfrm>
          <a:off x="1338560" y="237259"/>
          <a:ext cx="3930685" cy="3930685"/>
        </a:xfrm>
        <a:custGeom>
          <a:avLst/>
          <a:gdLst/>
          <a:ahLst/>
          <a:cxnLst/>
          <a:rect l="0" t="0" r="0" b="0"/>
          <a:pathLst>
            <a:path>
              <a:moveTo>
                <a:pt x="1107130" y="197280"/>
              </a:moveTo>
              <a:arcTo wR="1965342" hR="1965342" stAng="14646492" swAng="1031073"/>
            </a:path>
          </a:pathLst>
        </a:cu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33A9C2-D660-4D88-A0D2-68E68F92BDA3}">
      <dsp:nvSpPr>
        <dsp:cNvPr id="0" name=""/>
        <dsp:cNvSpPr/>
      </dsp:nvSpPr>
      <dsp:spPr>
        <a:xfrm rot="10800000">
          <a:off x="0" y="0"/>
          <a:ext cx="4931834" cy="576579"/>
        </a:xfrm>
        <a:prstGeom prst="trapezoid">
          <a:avLst>
            <a:gd name="adj" fmla="val 85536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b="0" kern="1200" dirty="0">
              <a:latin typeface="+mn-lt"/>
              <a:ea typeface="+mn-ea"/>
            </a:rPr>
            <a:t>要点</a:t>
          </a:r>
          <a:r>
            <a:rPr lang="en-US" altLang="zh-CN" sz="1000" b="0" kern="1200" dirty="0">
              <a:latin typeface="+mn-lt"/>
              <a:ea typeface="+mn-ea"/>
            </a:rPr>
            <a:t>1</a:t>
          </a:r>
          <a:endParaRPr lang="en-US" sz="1000" b="0" kern="1200" dirty="0">
            <a:latin typeface="+mn-lt"/>
            <a:ea typeface="+mn-ea"/>
          </a:endParaRPr>
        </a:p>
      </dsp:txBody>
      <dsp:txXfrm rot="-10800000">
        <a:off x="863070" y="0"/>
        <a:ext cx="3205692" cy="576579"/>
      </dsp:txXfrm>
    </dsp:sp>
    <dsp:sp modelId="{E64D5911-C055-4780-A124-2EC964666F62}">
      <dsp:nvSpPr>
        <dsp:cNvPr id="0" name=""/>
        <dsp:cNvSpPr/>
      </dsp:nvSpPr>
      <dsp:spPr>
        <a:xfrm rot="10800000">
          <a:off x="493183" y="576580"/>
          <a:ext cx="3945467" cy="576579"/>
        </a:xfrm>
        <a:prstGeom prst="trapezoid">
          <a:avLst>
            <a:gd name="adj" fmla="val 85536"/>
          </a:avLst>
        </a:prstGeom>
        <a:noFill/>
        <a:ln w="25400" cap="flat" cmpd="sng" algn="ctr">
          <a:solidFill>
            <a:srgbClr val="0046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b="0" kern="1200" dirty="0">
              <a:latin typeface="+mn-lt"/>
              <a:ea typeface="+mn-ea"/>
            </a:rPr>
            <a:t>要点</a:t>
          </a:r>
          <a:r>
            <a:rPr lang="en-US" altLang="zh-CN" sz="1000" b="0" kern="1200" dirty="0">
              <a:latin typeface="+mn-lt"/>
              <a:ea typeface="+mn-ea"/>
            </a:rPr>
            <a:t>2</a:t>
          </a:r>
          <a:endParaRPr lang="en-US" sz="1000" b="0" kern="1200" dirty="0">
            <a:latin typeface="+mn-lt"/>
            <a:ea typeface="+mn-ea"/>
          </a:endParaRPr>
        </a:p>
      </dsp:txBody>
      <dsp:txXfrm rot="-10800000">
        <a:off x="1183640" y="576580"/>
        <a:ext cx="2564553" cy="576579"/>
      </dsp:txXfrm>
    </dsp:sp>
    <dsp:sp modelId="{53077FF9-6876-4110-9E03-B974EE4A6039}">
      <dsp:nvSpPr>
        <dsp:cNvPr id="0" name=""/>
        <dsp:cNvSpPr/>
      </dsp:nvSpPr>
      <dsp:spPr>
        <a:xfrm rot="10800000">
          <a:off x="986366" y="1153159"/>
          <a:ext cx="2959100" cy="576579"/>
        </a:xfrm>
        <a:prstGeom prst="trapezoid">
          <a:avLst>
            <a:gd name="adj" fmla="val 85536"/>
          </a:avLst>
        </a:prstGeom>
        <a:noFill/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b="0" kern="1200" dirty="0">
              <a:latin typeface="+mn-lt"/>
              <a:ea typeface="+mn-ea"/>
            </a:rPr>
            <a:t>要点</a:t>
          </a:r>
          <a:r>
            <a:rPr lang="en-US" altLang="zh-CN" sz="1000" b="0" kern="1200" dirty="0">
              <a:latin typeface="+mn-lt"/>
              <a:ea typeface="+mn-ea"/>
            </a:rPr>
            <a:t>3</a:t>
          </a:r>
          <a:endParaRPr lang="en-US" sz="1000" b="0" kern="1200" dirty="0">
            <a:latin typeface="+mn-lt"/>
            <a:ea typeface="+mn-ea"/>
          </a:endParaRPr>
        </a:p>
      </dsp:txBody>
      <dsp:txXfrm rot="-10800000">
        <a:off x="1504209" y="1153159"/>
        <a:ext cx="1923415" cy="576579"/>
      </dsp:txXfrm>
    </dsp:sp>
    <dsp:sp modelId="{217FE5F7-91D7-4C51-A51D-306650A6C51F}">
      <dsp:nvSpPr>
        <dsp:cNvPr id="0" name=""/>
        <dsp:cNvSpPr/>
      </dsp:nvSpPr>
      <dsp:spPr>
        <a:xfrm rot="10800000">
          <a:off x="1479550" y="1729740"/>
          <a:ext cx="1972733" cy="576579"/>
        </a:xfrm>
        <a:prstGeom prst="trapezoid">
          <a:avLst>
            <a:gd name="adj" fmla="val 85536"/>
          </a:avLst>
        </a:prstGeom>
        <a:noFill/>
        <a:ln w="25400" cap="flat" cmpd="sng" algn="ctr">
          <a:solidFill>
            <a:srgbClr val="5FF9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b="0" kern="1200" dirty="0">
              <a:latin typeface="+mn-lt"/>
              <a:ea typeface="+mn-ea"/>
            </a:rPr>
            <a:t>要点</a:t>
          </a:r>
          <a:r>
            <a:rPr lang="en-US" altLang="zh-CN" sz="1000" b="0" kern="1200" dirty="0">
              <a:latin typeface="+mn-lt"/>
              <a:ea typeface="+mn-ea"/>
            </a:rPr>
            <a:t>4</a:t>
          </a:r>
          <a:endParaRPr lang="en-US" sz="1000" b="0" kern="1200" dirty="0">
            <a:latin typeface="+mn-lt"/>
            <a:ea typeface="+mn-ea"/>
          </a:endParaRPr>
        </a:p>
      </dsp:txBody>
      <dsp:txXfrm rot="-10800000">
        <a:off x="1824778" y="1729740"/>
        <a:ext cx="1282276" cy="576579"/>
      </dsp:txXfrm>
    </dsp:sp>
    <dsp:sp modelId="{80DACBE6-9C5D-4BE8-91C0-8925F0F2E228}">
      <dsp:nvSpPr>
        <dsp:cNvPr id="0" name=""/>
        <dsp:cNvSpPr/>
      </dsp:nvSpPr>
      <dsp:spPr>
        <a:xfrm rot="10800000">
          <a:off x="1972733" y="2306319"/>
          <a:ext cx="986366" cy="576579"/>
        </a:xfrm>
        <a:prstGeom prst="trapezoid">
          <a:avLst>
            <a:gd name="adj" fmla="val 85536"/>
          </a:avLst>
        </a:prstGeom>
        <a:solidFill>
          <a:schemeClr val="accent1">
            <a:alpha val="99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ea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000" b="0" kern="1200" dirty="0">
              <a:solidFill>
                <a:schemeClr val="bg2"/>
              </a:solidFill>
              <a:latin typeface="+mn-lt"/>
              <a:ea typeface="+mn-ea"/>
            </a:rPr>
            <a:t>要点</a:t>
          </a:r>
          <a:r>
            <a:rPr lang="en-US" altLang="zh-CN" sz="1000" b="0" kern="1200" dirty="0">
              <a:solidFill>
                <a:schemeClr val="bg2"/>
              </a:solidFill>
              <a:latin typeface="+mn-lt"/>
              <a:ea typeface="+mn-ea"/>
            </a:rPr>
            <a:t>5</a:t>
          </a:r>
          <a:endParaRPr lang="en-US" sz="1000" b="0" kern="1200" dirty="0">
            <a:solidFill>
              <a:schemeClr val="bg2"/>
            </a:solidFill>
            <a:latin typeface="+mn-lt"/>
            <a:ea typeface="+mn-ea"/>
          </a:endParaRPr>
        </a:p>
      </dsp:txBody>
      <dsp:txXfrm rot="-10800000">
        <a:off x="1972733" y="2306319"/>
        <a:ext cx="986366" cy="5765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35627A-8767-4B30-8378-5133303025AD}" type="datetimeFigureOut">
              <a:rPr lang="en-US" smtClean="0"/>
              <a:t>8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8BE493-47FC-4C34-862B-C0189A01B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890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 slide layout with graphical backgrou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759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ample bullet sli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6217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ple financial table slide, with band shad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476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ple text-heavy table slide, with first column shad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813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lor palet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8622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lor palet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5323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lor palet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A65950-5D3A-49D4-837D-A6776FA862EF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900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ll-page chart sli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5565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wo charts – top and botto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F2B94E-D855-42C0-9B2A-19A5BC2FDF2D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33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charts – left and righ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4778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ree char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874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orial title slide layout with blue backgrou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16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r char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175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r charts – quadrant layou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3527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ock image plus two white box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6BB9C-6FC4-489F-ACB7-CB528852663C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2403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dirty="0">
                <a:solidFill>
                  <a:schemeClr val="tx1"/>
                </a:solidFill>
              </a:rPr>
              <a:t>Central point with surrounding box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156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i="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ull bleed stock image + central ide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50279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ft hero picture plus three key takeaway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0013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ll bleed image with three white box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476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Four points with light blue backgrou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B7659-35AC-1349-9BB2-129474EF46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5399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yramid sli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439BB-B39C-4B4C-BC85-79F344AE6DA2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018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ble of cont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905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ble of cont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5322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rge quote slide with ic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782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io slide with headsho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D4E76-5326-40BB-A7A1-46EFE45DDBE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462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ction title – large numb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29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ction title – large numb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92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ction title – large numb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ED4E76-5326-40BB-A7A1-46EFE45DDB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860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ditori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2741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5"/>
            <a:ext cx="5900763" cy="513224"/>
          </a:xfrm>
        </p:spPr>
        <p:txBody>
          <a:bodyPr lIns="0" rIns="0" bIns="0" anchor="t" anchorCtr="0"/>
          <a:lstStyle>
            <a:lvl1pPr algn="l">
              <a:lnSpc>
                <a:spcPct val="92000"/>
              </a:lnSpc>
              <a:defRPr sz="3300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160A9-8E40-43A2-86C8-A3E5804EE6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2100" y="1972560"/>
            <a:ext cx="2664619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1125" spc="0">
                <a:solidFill>
                  <a:schemeClr val="bg1"/>
                </a:solidFill>
                <a:latin typeface="+mn-lt"/>
              </a:defRPr>
            </a:lvl1pPr>
            <a:lvl2pPr marL="0" indent="0" algn="l" eaLnBrk="1">
              <a:spcBef>
                <a:spcPts val="1519"/>
              </a:spcBef>
              <a:buNone/>
              <a:defRPr sz="788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>
            <a:extLst>
              <a:ext uri="{FF2B5EF4-FFF2-40B4-BE49-F238E27FC236}">
                <a16:creationId xmlns:a16="http://schemas.microsoft.com/office/drawing/2014/main" id="{B429C8AC-5DA6-4427-BBFC-1E6235DFB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algn="l"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bg1"/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1440C4-9972-4A20-995D-4F6A1356B50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5182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EC7ACED8-54CA-46CA-9E3F-CA2DB5D725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7972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6587358-4D60-45FB-99A1-E25FD9DE1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9885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1C4E57AB-2279-45DB-9D48-A329CE921A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8012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F8EF88-0375-4391-84A6-959704E8C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492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FD6B92FB-9FDB-4FF9-BC81-F2AC7B37D9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4BDD722-AA87-4C23-8BF9-5A4977B7CE9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13175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9E4967-9E55-47B4-8FE9-2C6D92E83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24613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">
            <a:extLst>
              <a:ext uri="{FF2B5EF4-FFF2-40B4-BE49-F238E27FC236}">
                <a16:creationId xmlns:a16="http://schemas.microsoft.com/office/drawing/2014/main" id="{7A9EEEC9-88CA-4CB9-B54F-77FAA0F427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23D2F14C-54EF-44A9-89C1-E3557B35BE1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288900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DDCF888-15FC-4366-9DAC-89481925FF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Title Placeholder 1">
            <a:extLst>
              <a:ext uri="{FF2B5EF4-FFF2-40B4-BE49-F238E27FC236}">
                <a16:creationId xmlns:a16="http://schemas.microsoft.com/office/drawing/2014/main" id="{707B5C06-9A8A-4460-9692-69AB6AB063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8900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Title Placeholder 2">
            <a:extLst>
              <a:ext uri="{FF2B5EF4-FFF2-40B4-BE49-F238E27FC236}">
                <a16:creationId xmlns:a16="http://schemas.microsoft.com/office/drawing/2014/main" id="{3563387D-87B5-4FFA-9A28-463D0B0C0C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52C11F0-554C-4199-A9DC-2E8EBA2E9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EF2A8EA-D72F-466F-BB78-6A7D82E03B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F55E628-B412-4C72-8B76-B8DA6A7F5E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864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>
            <a:extLst>
              <a:ext uri="{FF2B5EF4-FFF2-40B4-BE49-F238E27FC236}">
                <a16:creationId xmlns:a16="http://schemas.microsoft.com/office/drawing/2014/main" id="{AD86CC53-7E9A-4909-912C-BCD3C95695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90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B238C-28EB-449A-9B50-BBD778FDF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33C6C2-E823-48AC-B2F8-02BD7FE6F5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C2B11C-096E-4473-971C-D593F2B76D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3942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note">
            <a:extLst>
              <a:ext uri="{FF2B5EF4-FFF2-40B4-BE49-F238E27FC236}">
                <a16:creationId xmlns:a16="http://schemas.microsoft.com/office/drawing/2014/main" id="{8A994DDA-EEE5-4BC0-A900-EFDF92C1F5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503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Title Placeholder 1">
            <a:extLst>
              <a:ext uri="{FF2B5EF4-FFF2-40B4-BE49-F238E27FC236}">
                <a16:creationId xmlns:a16="http://schemas.microsoft.com/office/drawing/2014/main" id="{777D9628-4C86-4322-A3A3-0123433EF86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top_border">
            <a:extLst>
              <a:ext uri="{FF2B5EF4-FFF2-40B4-BE49-F238E27FC236}">
                <a16:creationId xmlns:a16="http://schemas.microsoft.com/office/drawing/2014/main" id="{D38199F1-C2F8-45A5-A18E-FE013F96B37B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8CAABFA-D034-4216-BF6C-EB331CD90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3232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>
            <a:extLst>
              <a:ext uri="{FF2B5EF4-FFF2-40B4-BE49-F238E27FC236}">
                <a16:creationId xmlns:a16="http://schemas.microsoft.com/office/drawing/2014/main" id="{FF8D7FCB-9731-45B2-8A10-E0680B62E9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>
            <a:extLst>
              <a:ext uri="{FF2B5EF4-FFF2-40B4-BE49-F238E27FC236}">
                <a16:creationId xmlns:a16="http://schemas.microsoft.com/office/drawing/2014/main" id="{64F22040-5F6D-44FB-885D-8112F0D57F0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Title Placeholder 2">
            <a:extLst>
              <a:ext uri="{FF2B5EF4-FFF2-40B4-BE49-F238E27FC236}">
                <a16:creationId xmlns:a16="http://schemas.microsoft.com/office/drawing/2014/main" id="{5DBAD550-03BB-47CF-ACF2-0B0714B3E79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027761B-C80E-4C6B-8EB5-71AEF5E49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4124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>
            <a:extLst>
              <a:ext uri="{FF2B5EF4-FFF2-40B4-BE49-F238E27FC236}">
                <a16:creationId xmlns:a16="http://schemas.microsoft.com/office/drawing/2014/main" id="{BAFA1273-7643-4AD0-9745-35B243C4E7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Title Placeholder 1">
            <a:extLst>
              <a:ext uri="{FF2B5EF4-FFF2-40B4-BE49-F238E27FC236}">
                <a16:creationId xmlns:a16="http://schemas.microsoft.com/office/drawing/2014/main" id="{F869446F-4744-45C8-BBA1-A9260F5B850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BFE9E14-4604-4701-83B9-AA40A0EDD4B5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2">
            <a:extLst>
              <a:ext uri="{FF2B5EF4-FFF2-40B4-BE49-F238E27FC236}">
                <a16:creationId xmlns:a16="http://schemas.microsoft.com/office/drawing/2014/main" id="{B6D586CB-340B-4C0F-AA2C-11AA69725E3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4ADA90-AEB5-495A-A82C-A8027A598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0DC4ABBF-698D-4B74-8ABF-E2FEEED6A780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>
            <a:extLst>
              <a:ext uri="{FF2B5EF4-FFF2-40B4-BE49-F238E27FC236}">
                <a16:creationId xmlns:a16="http://schemas.microsoft.com/office/drawing/2014/main" id="{3A109750-BE33-4E51-9DB4-AE929906A1E9}"/>
              </a:ext>
            </a:extLst>
          </p:cNvPr>
          <p:cNvCxnSpPr>
            <a:cxnSpLocks/>
          </p:cNvCxnSpPr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2504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>
            <a:extLst>
              <a:ext uri="{FF2B5EF4-FFF2-40B4-BE49-F238E27FC236}">
                <a16:creationId xmlns:a16="http://schemas.microsoft.com/office/drawing/2014/main" id="{E6A7E2A9-55CE-4DA2-9382-0ED46CC4B7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Title Placeholder 1">
            <a:extLst>
              <a:ext uri="{FF2B5EF4-FFF2-40B4-BE49-F238E27FC236}">
                <a16:creationId xmlns:a16="http://schemas.microsoft.com/office/drawing/2014/main" id="{EBDF9948-A04A-44FB-848B-89758DB4A3C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6072902" cy="184666"/>
          </a:xfrm>
        </p:spPr>
        <p:txBody>
          <a:bodyPr wrap="square"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 eaLnBrk="1">
              <a:defRPr sz="3200" b="1" spc="0">
                <a:latin typeface="+mj-lt"/>
              </a:defRPr>
            </a:lvl1pPr>
            <a:lvl2pPr eaLnBrk="1">
              <a:defRPr sz="900" spc="0"/>
            </a:lvl2pPr>
            <a:lvl3pPr eaLnBrk="1">
              <a:defRPr sz="900" spc="0"/>
            </a:lvl3pPr>
            <a:lvl4pPr eaLnBrk="1">
              <a:defRPr sz="900" spc="0"/>
            </a:lvl4pPr>
            <a:lvl5pPr eaLnBrk="1">
              <a:defRPr sz="900" spc="0"/>
            </a:lvl5pPr>
          </a:lstStyle>
          <a:p>
            <a:pPr lvl="0"/>
            <a:r>
              <a:rPr lang="en-US" dirty="0"/>
              <a:t>Callou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79336-5C15-48A9-AC00-517461969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top_border">
            <a:extLst>
              <a:ext uri="{FF2B5EF4-FFF2-40B4-BE49-F238E27FC236}">
                <a16:creationId xmlns:a16="http://schemas.microsoft.com/office/drawing/2014/main" id="{99CBF877-6CA0-4637-B69A-A0A8F677A5BF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9806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>
            <a:extLst>
              <a:ext uri="{FF2B5EF4-FFF2-40B4-BE49-F238E27FC236}">
                <a16:creationId xmlns:a16="http://schemas.microsoft.com/office/drawing/2014/main" id="{FF8D7FCB-9731-45B2-8A10-E0680B62E9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66867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>
            <a:extLst>
              <a:ext uri="{FF2B5EF4-FFF2-40B4-BE49-F238E27FC236}">
                <a16:creationId xmlns:a16="http://schemas.microsoft.com/office/drawing/2014/main" id="{64F22040-5F6D-44FB-885D-8112F0D57F0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Title Placeholder 2">
            <a:extLst>
              <a:ext uri="{FF2B5EF4-FFF2-40B4-BE49-F238E27FC236}">
                <a16:creationId xmlns:a16="http://schemas.microsoft.com/office/drawing/2014/main" id="{5DBAD550-03BB-47CF-ACF2-0B0714B3E7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8620861-0A25-4981-A76E-BA0A04206818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Title Placeholder 3">
            <a:extLst>
              <a:ext uri="{FF2B5EF4-FFF2-40B4-BE49-F238E27FC236}">
                <a16:creationId xmlns:a16="http://schemas.microsoft.com/office/drawing/2014/main" id="{A6A0910D-C290-4090-96B8-35D768836411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027761B-C80E-4C6B-8EB5-71AEF5E49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7" name="top_border">
            <a:extLst>
              <a:ext uri="{FF2B5EF4-FFF2-40B4-BE49-F238E27FC236}">
                <a16:creationId xmlns:a16="http://schemas.microsoft.com/office/drawing/2014/main" id="{46B22567-79DB-47D1-9BB5-4ACFF612208C}"/>
              </a:ext>
            </a:extLst>
          </p:cNvPr>
          <p:cNvCxnSpPr>
            <a:cxnSpLocks/>
          </p:cNvCxnSpPr>
          <p:nvPr/>
        </p:nvCxnSpPr>
        <p:spPr>
          <a:xfrm>
            <a:off x="6189663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2129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olid_bg">
            <a:extLst>
              <a:ext uri="{FF2B5EF4-FFF2-40B4-BE49-F238E27FC236}">
                <a16:creationId xmlns:a16="http://schemas.microsoft.com/office/drawing/2014/main" id="{CB557A8C-835E-42A5-B7BE-C4579D980C1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22C615AF-37E1-4544-8938-A6036672C69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18" name="Presenter Name">
            <a:extLst>
              <a:ext uri="{FF2B5EF4-FFF2-40B4-BE49-F238E27FC236}">
                <a16:creationId xmlns:a16="http://schemas.microsoft.com/office/drawing/2014/main" id="{BFCF1E68-A185-43EE-8A89-733E01BBDA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1" name="circle1">
            <a:extLst>
              <a:ext uri="{FF2B5EF4-FFF2-40B4-BE49-F238E27FC236}">
                <a16:creationId xmlns:a16="http://schemas.microsoft.com/office/drawing/2014/main" id="{BCF3840A-3E36-48F9-891F-2A2C286B2C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4804212-161D-4ABB-89D4-DE8431CF3A41}"/>
              </a:ext>
            </a:extLst>
          </p:cNvPr>
          <p:cNvCxnSpPr>
            <a:cxnSpLocks/>
          </p:cNvCxnSpPr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>
            <a:extLst>
              <a:ext uri="{FF2B5EF4-FFF2-40B4-BE49-F238E27FC236}">
                <a16:creationId xmlns:a16="http://schemas.microsoft.com/office/drawing/2014/main" id="{74168AF6-DA43-4D10-994E-B4D0A97638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3" name="circle2">
            <a:extLst>
              <a:ext uri="{FF2B5EF4-FFF2-40B4-BE49-F238E27FC236}">
                <a16:creationId xmlns:a16="http://schemas.microsoft.com/office/drawing/2014/main" id="{E70FF7C0-F255-4D33-A6E2-93643A8C2B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C9E60A-38B9-4A75-9AAC-140E54906963}"/>
              </a:ext>
            </a:extLst>
          </p:cNvPr>
          <p:cNvCxnSpPr>
            <a:cxnSpLocks/>
          </p:cNvCxnSpPr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>
            <a:extLst>
              <a:ext uri="{FF2B5EF4-FFF2-40B4-BE49-F238E27FC236}">
                <a16:creationId xmlns:a16="http://schemas.microsoft.com/office/drawing/2014/main" id="{28B81564-AB02-47E4-9423-6FABF3BA6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6" name="circle3">
            <a:extLst>
              <a:ext uri="{FF2B5EF4-FFF2-40B4-BE49-F238E27FC236}">
                <a16:creationId xmlns:a16="http://schemas.microsoft.com/office/drawing/2014/main" id="{8986AF2C-10F9-4770-8613-5FAA70145F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5811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ootnote">
            <a:extLst>
              <a:ext uri="{FF2B5EF4-FFF2-40B4-BE49-F238E27FC236}">
                <a16:creationId xmlns:a16="http://schemas.microsoft.com/office/drawing/2014/main" id="{4F170681-6AD8-4293-9718-0C9C526719D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Title Placeholder 1">
            <a:extLst>
              <a:ext uri="{FF2B5EF4-FFF2-40B4-BE49-F238E27FC236}">
                <a16:creationId xmlns:a16="http://schemas.microsoft.com/office/drawing/2014/main" id="{CE018C63-1ABC-49FA-961D-21DB024D8D3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Title Placeholder 2">
            <a:extLst>
              <a:ext uri="{FF2B5EF4-FFF2-40B4-BE49-F238E27FC236}">
                <a16:creationId xmlns:a16="http://schemas.microsoft.com/office/drawing/2014/main" id="{2EF14EF6-61A8-4590-BE16-76554341180B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252013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Title Placeholder 3">
            <a:extLst>
              <a:ext uri="{FF2B5EF4-FFF2-40B4-BE49-F238E27FC236}">
                <a16:creationId xmlns:a16="http://schemas.microsoft.com/office/drawing/2014/main" id="{7F141F40-13EF-48A0-8DCD-4C3CE08CC34A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471200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Title Placeholder 4">
            <a:extLst>
              <a:ext uri="{FF2B5EF4-FFF2-40B4-BE49-F238E27FC236}">
                <a16:creationId xmlns:a16="http://schemas.microsoft.com/office/drawing/2014/main" id="{21CF22A8-0C66-4834-BB6E-DB85A3776D44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910598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BFADA-2E17-43A8-B6B2-31B80ADF3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6" name="top_border">
            <a:extLst>
              <a:ext uri="{FF2B5EF4-FFF2-40B4-BE49-F238E27FC236}">
                <a16:creationId xmlns:a16="http://schemas.microsoft.com/office/drawing/2014/main" id="{EE60BCBE-FC5D-4394-8F4A-88CF4A4B657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>
            <a:extLst>
              <a:ext uri="{FF2B5EF4-FFF2-40B4-BE49-F238E27FC236}">
                <a16:creationId xmlns:a16="http://schemas.microsoft.com/office/drawing/2014/main" id="{494690CD-B0F2-48F4-AD1E-680D9F9AF618}"/>
              </a:ext>
            </a:extLst>
          </p:cNvPr>
          <p:cNvCxnSpPr>
            <a:cxnSpLocks/>
          </p:cNvCxnSpPr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>
            <a:extLst>
              <a:ext uri="{FF2B5EF4-FFF2-40B4-BE49-F238E27FC236}">
                <a16:creationId xmlns:a16="http://schemas.microsoft.com/office/drawing/2014/main" id="{F20FD8F4-0B33-4D15-84FD-7F39369504F6}"/>
              </a:ext>
            </a:extLst>
          </p:cNvPr>
          <p:cNvCxnSpPr>
            <a:cxnSpLocks/>
          </p:cNvCxnSpPr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>
            <a:extLst>
              <a:ext uri="{FF2B5EF4-FFF2-40B4-BE49-F238E27FC236}">
                <a16:creationId xmlns:a16="http://schemas.microsoft.com/office/drawing/2014/main" id="{11E189EF-2260-4D96-82F1-2CE91956FB29}"/>
              </a:ext>
            </a:extLst>
          </p:cNvPr>
          <p:cNvCxnSpPr>
            <a:cxnSpLocks/>
          </p:cNvCxnSpPr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911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">
            <a:extLst>
              <a:ext uri="{FF2B5EF4-FFF2-40B4-BE49-F238E27FC236}">
                <a16:creationId xmlns:a16="http://schemas.microsoft.com/office/drawing/2014/main" id="{2C4E0CD0-17D7-47C5-A3CB-8D104781EE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/>
          </p:nvPr>
        </p:nvSpPr>
        <p:spPr>
          <a:xfrm>
            <a:off x="2518840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/>
          </p:nvPr>
        </p:nvSpPr>
        <p:spPr>
          <a:xfrm>
            <a:off x="4701505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9DED915A-F4A2-468F-A224-9D9F79397D9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/>
          </p:nvPr>
        </p:nvSpPr>
        <p:spPr>
          <a:xfrm>
            <a:off x="6884168" y="1090175"/>
            <a:ext cx="1950188" cy="182880"/>
          </a:xfrm>
        </p:spPr>
        <p:txBody>
          <a:bodyPr lIns="0" rIns="0" bIns="0"/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D6773A96-7DD8-44D1-BDFB-C46002148B6F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DE241C-6E45-4B71-A681-4E6270783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0" name="top_border">
            <a:extLst>
              <a:ext uri="{FF2B5EF4-FFF2-40B4-BE49-F238E27FC236}">
                <a16:creationId xmlns:a16="http://schemas.microsoft.com/office/drawing/2014/main" id="{36CF564B-B5B0-4440-96C7-A82AC49AE54C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52231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>
            <a:extLst>
              <a:ext uri="{FF2B5EF4-FFF2-40B4-BE49-F238E27FC236}">
                <a16:creationId xmlns:a16="http://schemas.microsoft.com/office/drawing/2014/main" id="{DE8E33C0-0B0B-4281-8816-AB72A17B5E9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BD274-92E4-4A69-8358-772DEFF5E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45" name="top_border">
            <a:extLst>
              <a:ext uri="{FF2B5EF4-FFF2-40B4-BE49-F238E27FC236}">
                <a16:creationId xmlns:a16="http://schemas.microsoft.com/office/drawing/2014/main" id="{DD564F40-A94C-4C6B-9D2A-A7F672DB9338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>
            <a:extLst>
              <a:ext uri="{FF2B5EF4-FFF2-40B4-BE49-F238E27FC236}">
                <a16:creationId xmlns:a16="http://schemas.microsoft.com/office/drawing/2014/main" id="{8E298D74-516E-4AE6-A00E-085A771DAA76}"/>
              </a:ext>
            </a:extLst>
          </p:cNvPr>
          <p:cNvCxnSpPr>
            <a:cxnSpLocks/>
          </p:cNvCxnSpPr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>
            <a:extLst>
              <a:ext uri="{FF2B5EF4-FFF2-40B4-BE49-F238E27FC236}">
                <a16:creationId xmlns:a16="http://schemas.microsoft.com/office/drawing/2014/main" id="{9E904036-4DAC-496D-8E62-DC4710658A4A}"/>
              </a:ext>
            </a:extLst>
          </p:cNvPr>
          <p:cNvCxnSpPr>
            <a:cxnSpLocks/>
          </p:cNvCxnSpPr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>
            <a:extLst>
              <a:ext uri="{FF2B5EF4-FFF2-40B4-BE49-F238E27FC236}">
                <a16:creationId xmlns:a16="http://schemas.microsoft.com/office/drawing/2014/main" id="{72E71D1D-31EC-4149-949A-FBD77972D7F1}"/>
              </a:ext>
            </a:extLst>
          </p:cNvPr>
          <p:cNvCxnSpPr>
            <a:cxnSpLocks/>
          </p:cNvCxnSpPr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>
            <a:extLst>
              <a:ext uri="{FF2B5EF4-FFF2-40B4-BE49-F238E27FC236}">
                <a16:creationId xmlns:a16="http://schemas.microsoft.com/office/drawing/2014/main" id="{F04374CE-0341-4030-AE37-4E7BB25979EE}"/>
              </a:ext>
            </a:extLst>
          </p:cNvPr>
          <p:cNvCxnSpPr>
            <a:cxnSpLocks/>
          </p:cNvCxnSpPr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>
            <a:extLst>
              <a:ext uri="{FF2B5EF4-FFF2-40B4-BE49-F238E27FC236}">
                <a16:creationId xmlns:a16="http://schemas.microsoft.com/office/drawing/2014/main" id="{4885E037-1F86-4655-98D1-AB40630436F8}"/>
              </a:ext>
            </a:extLst>
          </p:cNvPr>
          <p:cNvCxnSpPr>
            <a:cxnSpLocks/>
          </p:cNvCxnSpPr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>
            <a:extLst>
              <a:ext uri="{FF2B5EF4-FFF2-40B4-BE49-F238E27FC236}">
                <a16:creationId xmlns:a16="http://schemas.microsoft.com/office/drawing/2014/main" id="{8E61612E-5A27-4169-946C-EFAE4C10E8F6}"/>
              </a:ext>
            </a:extLst>
          </p:cNvPr>
          <p:cNvCxnSpPr>
            <a:cxnSpLocks/>
          </p:cNvCxnSpPr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>
            <a:extLst>
              <a:ext uri="{FF2B5EF4-FFF2-40B4-BE49-F238E27FC236}">
                <a16:creationId xmlns:a16="http://schemas.microsoft.com/office/drawing/2014/main" id="{793F88B3-F7C2-4979-9502-77916FFA0ED6}"/>
              </a:ext>
            </a:extLst>
          </p:cNvPr>
          <p:cNvCxnSpPr>
            <a:cxnSpLocks/>
          </p:cNvCxnSpPr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333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">
            <a:extLst>
              <a:ext uri="{FF2B5EF4-FFF2-40B4-BE49-F238E27FC236}">
                <a16:creationId xmlns:a16="http://schemas.microsoft.com/office/drawing/2014/main" id="{43B18EE9-FED7-45B6-8CAD-6BD80B08C9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BE55BB-79B5-4914-A387-995870EB9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50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D571ED62-37A1-4ADD-A3FA-82C527EBD52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5EC70451-B10C-4977-9370-77653FFF3DD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84378BAC-744B-4DC6-BDA3-C15119DA8B6B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8" name="Picture Placeholder 1">
            <a:extLst>
              <a:ext uri="{FF2B5EF4-FFF2-40B4-BE49-F238E27FC236}">
                <a16:creationId xmlns:a16="http://schemas.microsoft.com/office/drawing/2014/main" id="{80ADDD61-DE66-4CBB-8C2B-AC0890694CF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7" name="Name Title Placeholder 4">
            <a:extLst>
              <a:ext uri="{FF2B5EF4-FFF2-40B4-BE49-F238E27FC236}">
                <a16:creationId xmlns:a16="http://schemas.microsoft.com/office/drawing/2014/main" id="{EB359154-6BCD-43DE-8401-C3288D4DFC9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936184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5" name="Name Title Placeholder 3">
            <a:extLst>
              <a:ext uri="{FF2B5EF4-FFF2-40B4-BE49-F238E27FC236}">
                <a16:creationId xmlns:a16="http://schemas.microsoft.com/office/drawing/2014/main" id="{DBEF01F8-3FA9-4661-8911-45187A00A74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19769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3" name="Name Title Placeholder 2">
            <a:extLst>
              <a:ext uri="{FF2B5EF4-FFF2-40B4-BE49-F238E27FC236}">
                <a16:creationId xmlns:a16="http://schemas.microsoft.com/office/drawing/2014/main" id="{93B030F6-B30F-4CAE-B55D-B8CBC9B7D0D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503355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Name Title Placeholder 1">
            <a:extLst>
              <a:ext uri="{FF2B5EF4-FFF2-40B4-BE49-F238E27FC236}">
                <a16:creationId xmlns:a16="http://schemas.microsoft.com/office/drawing/2014/main" id="{3BA556DB-9334-4833-BB83-A0D9D6CBB49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8900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 dirty="0"/>
              <a:t>Click to Master 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5" name="Bullet Placeholder 4">
            <a:extLst>
              <a:ext uri="{FF2B5EF4-FFF2-40B4-BE49-F238E27FC236}">
                <a16:creationId xmlns:a16="http://schemas.microsoft.com/office/drawing/2014/main" id="{F5CD8AD1-77CB-42C2-9B59-C3064DB79481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93618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Bullet Placeholder 3">
            <a:extLst>
              <a:ext uri="{FF2B5EF4-FFF2-40B4-BE49-F238E27FC236}">
                <a16:creationId xmlns:a16="http://schemas.microsoft.com/office/drawing/2014/main" id="{9B112AFD-4A2F-420C-9F84-79D74AF032D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719769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Bullet Placeholder 2">
            <a:extLst>
              <a:ext uri="{FF2B5EF4-FFF2-40B4-BE49-F238E27FC236}">
                <a16:creationId xmlns:a16="http://schemas.microsoft.com/office/drawing/2014/main" id="{2668A636-4EC1-439A-A382-7B7DFDC8402A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250335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Bullet Placeholder 1">
            <a:extLst>
              <a:ext uri="{FF2B5EF4-FFF2-40B4-BE49-F238E27FC236}">
                <a16:creationId xmlns:a16="http://schemas.microsoft.com/office/drawing/2014/main" id="{4C9E04F5-9560-4728-B2CA-B34A719BCA19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286941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50" name="top_border">
            <a:extLst>
              <a:ext uri="{FF2B5EF4-FFF2-40B4-BE49-F238E27FC236}">
                <a16:creationId xmlns:a16="http://schemas.microsoft.com/office/drawing/2014/main" id="{5E9FFEA9-34AD-40FF-8768-F50997D12FF4}"/>
              </a:ext>
            </a:extLst>
          </p:cNvPr>
          <p:cNvCxnSpPr>
            <a:cxnSpLocks/>
          </p:cNvCxnSpPr>
          <p:nvPr/>
        </p:nvCxnSpPr>
        <p:spPr>
          <a:xfrm>
            <a:off x="288900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top_border">
            <a:extLst>
              <a:ext uri="{FF2B5EF4-FFF2-40B4-BE49-F238E27FC236}">
                <a16:creationId xmlns:a16="http://schemas.microsoft.com/office/drawing/2014/main" id="{905DF072-9EE7-409E-BC14-63A27A53C170}"/>
              </a:ext>
            </a:extLst>
          </p:cNvPr>
          <p:cNvCxnSpPr>
            <a:cxnSpLocks/>
          </p:cNvCxnSpPr>
          <p:nvPr/>
        </p:nvCxnSpPr>
        <p:spPr>
          <a:xfrm>
            <a:off x="2503355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>
            <a:extLst>
              <a:ext uri="{FF2B5EF4-FFF2-40B4-BE49-F238E27FC236}">
                <a16:creationId xmlns:a16="http://schemas.microsoft.com/office/drawing/2014/main" id="{02511175-35D0-4BF0-81FA-9FCFD9BE5A06}"/>
              </a:ext>
            </a:extLst>
          </p:cNvPr>
          <p:cNvCxnSpPr>
            <a:cxnSpLocks/>
          </p:cNvCxnSpPr>
          <p:nvPr/>
        </p:nvCxnSpPr>
        <p:spPr>
          <a:xfrm>
            <a:off x="4719769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top_border">
            <a:extLst>
              <a:ext uri="{FF2B5EF4-FFF2-40B4-BE49-F238E27FC236}">
                <a16:creationId xmlns:a16="http://schemas.microsoft.com/office/drawing/2014/main" id="{AC0EC851-46CF-442C-B17A-0D184DBE1F5F}"/>
              </a:ext>
            </a:extLst>
          </p:cNvPr>
          <p:cNvCxnSpPr>
            <a:cxnSpLocks/>
          </p:cNvCxnSpPr>
          <p:nvPr/>
        </p:nvCxnSpPr>
        <p:spPr>
          <a:xfrm>
            <a:off x="6936184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90916FC-3D57-489F-8804-605411923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880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71D5E5-809D-4CA8-92DE-1D9A2DA62E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EDD50B3-A8D6-4FD4-B831-37F14BD08C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94E7927-3F9E-4653-B821-A7C0104E4F6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5705DAA2-41FB-41A1-B19B-801D1EA479D6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2328944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619006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32385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9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71D5E5-809D-4CA8-92DE-1D9A2DA62E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EDD50B3-A8D6-4FD4-B831-37F14BD08C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94E7927-3F9E-4653-B821-A7C0104E4F6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9ECE7AA8-D95E-4BF5-8744-81C8E6BBD5B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1632527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>
            <a:extLst>
              <a:ext uri="{FF2B5EF4-FFF2-40B4-BE49-F238E27FC236}">
                <a16:creationId xmlns:a16="http://schemas.microsoft.com/office/drawing/2014/main" id="{B74D8647-FABE-46C8-B992-8C3DCFD10B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EEA165-D91F-4A2B-B8AC-8F482B529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147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 eaLnBrk="1">
              <a:spcBef>
                <a:spcPts val="300"/>
              </a:spcBef>
              <a:defRPr sz="8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83DD5E-DC6A-4106-A995-2452B525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3672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F69EA7-7BB1-4A6E-93D3-8C54DCC72F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E7C6D2-AF03-4A4F-86F0-06C7094633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note">
            <a:extLst>
              <a:ext uri="{FF2B5EF4-FFF2-40B4-BE49-F238E27FC236}">
                <a16:creationId xmlns:a16="http://schemas.microsoft.com/office/drawing/2014/main" id="{8561DAA3-F8D2-4133-91F9-2B8B997A1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3763873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olid_bg">
            <a:extLst>
              <a:ext uri="{FF2B5EF4-FFF2-40B4-BE49-F238E27FC236}">
                <a16:creationId xmlns:a16="http://schemas.microsoft.com/office/drawing/2014/main" id="{CB557A8C-835E-42A5-B7BE-C4579D980C1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22C615AF-37E1-4544-8938-A6036672C69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18" name="Presenter Name">
            <a:extLst>
              <a:ext uri="{FF2B5EF4-FFF2-40B4-BE49-F238E27FC236}">
                <a16:creationId xmlns:a16="http://schemas.microsoft.com/office/drawing/2014/main" id="{BFCF1E68-A185-43EE-8A89-733E01BBDA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1" name="circle1">
            <a:extLst>
              <a:ext uri="{FF2B5EF4-FFF2-40B4-BE49-F238E27FC236}">
                <a16:creationId xmlns:a16="http://schemas.microsoft.com/office/drawing/2014/main" id="{BCF3840A-3E36-48F9-891F-2A2C286B2C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4804212-161D-4ABB-89D4-DE8431CF3A41}"/>
              </a:ext>
            </a:extLst>
          </p:cNvPr>
          <p:cNvCxnSpPr>
            <a:cxnSpLocks/>
          </p:cNvCxnSpPr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>
            <a:extLst>
              <a:ext uri="{FF2B5EF4-FFF2-40B4-BE49-F238E27FC236}">
                <a16:creationId xmlns:a16="http://schemas.microsoft.com/office/drawing/2014/main" id="{74168AF6-DA43-4D10-994E-B4D0A97638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3" name="circle2">
            <a:extLst>
              <a:ext uri="{FF2B5EF4-FFF2-40B4-BE49-F238E27FC236}">
                <a16:creationId xmlns:a16="http://schemas.microsoft.com/office/drawing/2014/main" id="{E70FF7C0-F255-4D33-A6E2-93643A8C2B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C9E60A-38B9-4A75-9AAC-140E54906963}"/>
              </a:ext>
            </a:extLst>
          </p:cNvPr>
          <p:cNvCxnSpPr>
            <a:cxnSpLocks/>
          </p:cNvCxnSpPr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>
            <a:extLst>
              <a:ext uri="{FF2B5EF4-FFF2-40B4-BE49-F238E27FC236}">
                <a16:creationId xmlns:a16="http://schemas.microsoft.com/office/drawing/2014/main" id="{28B81564-AB02-47E4-9423-6FABF3BA6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6" name="circle3">
            <a:extLst>
              <a:ext uri="{FF2B5EF4-FFF2-40B4-BE49-F238E27FC236}">
                <a16:creationId xmlns:a16="http://schemas.microsoft.com/office/drawing/2014/main" id="{8986AF2C-10F9-4770-8613-5FAA70145F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136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lid_bg">
            <a:extLst>
              <a:ext uri="{FF2B5EF4-FFF2-40B4-BE49-F238E27FC236}">
                <a16:creationId xmlns:a16="http://schemas.microsoft.com/office/drawing/2014/main" id="{90655820-2BFF-4A20-AFF6-4117DBB79B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resenter Name">
            <a:extLst>
              <a:ext uri="{FF2B5EF4-FFF2-40B4-BE49-F238E27FC236}">
                <a16:creationId xmlns:a16="http://schemas.microsoft.com/office/drawing/2014/main" id="{5ACC0FCF-0877-41B8-9014-A349B57072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 eaLnBrk="1">
              <a:spcBef>
                <a:spcPts val="0"/>
              </a:spcBef>
              <a:defRPr sz="1200" b="0" spc="0">
                <a:latin typeface="+mj-lt"/>
              </a:defRPr>
            </a:lvl1pPr>
            <a:lvl2pPr marL="0" indent="0" eaLnBrk="1">
              <a:spcBef>
                <a:spcPts val="0"/>
              </a:spcBef>
              <a:buNone/>
              <a:defRPr sz="1200" spc="0"/>
            </a:lvl2pPr>
          </a:lstStyle>
          <a:p>
            <a:r>
              <a:rPr lang="en-GB" dirty="0"/>
              <a:t>Invesco department </a:t>
            </a:r>
          </a:p>
          <a:p>
            <a:pPr lvl="1"/>
            <a:r>
              <a:rPr lang="en-US" dirty="0"/>
              <a:t>Address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2B16FB8D-FC7A-4958-9D07-F793EB8215A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901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9414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lid_bg">
            <a:extLst>
              <a:ext uri="{FF2B5EF4-FFF2-40B4-BE49-F238E27FC236}">
                <a16:creationId xmlns:a16="http://schemas.microsoft.com/office/drawing/2014/main" id="{4275A85C-58AF-4F79-8291-5C1A826C19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35D60-14DC-42E6-A40C-399D0C48D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00" y="146988"/>
            <a:ext cx="8568929" cy="2424762"/>
          </a:xfrm>
        </p:spPr>
        <p:txBody>
          <a:bodyPr lIns="0" rIns="0" bIns="0"/>
          <a:lstStyle>
            <a:lvl1pPr>
              <a:defRPr sz="6675" b="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0607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- icon">
    <p:bg>
      <p:bgPr>
        <a:solidFill>
          <a:srgbClr val="5FF0FF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>
            <a:extLst>
              <a:ext uri="{FF2B5EF4-FFF2-40B4-BE49-F238E27FC236}">
                <a16:creationId xmlns:a16="http://schemas.microsoft.com/office/drawing/2014/main" id="{AC6B816B-CEAB-43FF-B144-7F260D0846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8131" y="288131"/>
            <a:ext cx="640080" cy="640080"/>
          </a:xfrm>
          <a:prstGeom prst="ellipse">
            <a:avLst/>
          </a:prstGeom>
          <a:solidFill>
            <a:srgbClr val="D5221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C6144-6F8D-4632-AFF6-21FC754E2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499" y="243000"/>
            <a:ext cx="5617369" cy="4282678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3"/>
              </a:spcBef>
              <a:buNone/>
              <a:defRPr sz="1400" b="0" spc="0">
                <a:solidFill>
                  <a:schemeClr val="tx2"/>
                </a:solidFill>
              </a:defRPr>
            </a:lvl2pPr>
            <a:lvl3pPr marL="152698" indent="-152698">
              <a:lnSpc>
                <a:spcPct val="100000"/>
              </a:lnSpc>
              <a:spcBef>
                <a:spcPts val="1013"/>
              </a:spcBef>
              <a:defRPr sz="1400" b="0" spc="0">
                <a:solidFill>
                  <a:schemeClr val="tx2"/>
                </a:solidFill>
              </a:defRPr>
            </a:lvl3pPr>
            <a:lvl4pPr marL="304503" indent="-151805"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resenter Name">
            <a:extLst>
              <a:ext uri="{FF2B5EF4-FFF2-40B4-BE49-F238E27FC236}">
                <a16:creationId xmlns:a16="http://schemas.microsoft.com/office/drawing/2014/main" id="{04FA2E17-4E7E-4AE0-B5A5-5C891F3A74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1" y="1062112"/>
            <a:ext cx="1474984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2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591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</a:p>
          <a:p>
            <a:pPr lvl="1"/>
            <a:r>
              <a:rPr lang="en-GB" dirty="0"/>
              <a:t>Job title goes here </a:t>
            </a: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E5A92843-7936-44DA-B506-AB7A18149BC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8525" y="521790"/>
            <a:ext cx="241956" cy="180319"/>
          </a:xfrm>
          <a:custGeom>
            <a:avLst/>
            <a:gdLst>
              <a:gd name="T0" fmla="*/ 0 w 738"/>
              <a:gd name="T1" fmla="*/ 367 h 550"/>
              <a:gd name="T2" fmla="*/ 324 w 738"/>
              <a:gd name="T3" fmla="*/ 0 h 550"/>
              <a:gd name="T4" fmla="*/ 335 w 738"/>
              <a:gd name="T5" fmla="*/ 31 h 550"/>
              <a:gd name="T6" fmla="*/ 142 w 738"/>
              <a:gd name="T7" fmla="*/ 283 h 550"/>
              <a:gd name="T8" fmla="*/ 312 w 738"/>
              <a:gd name="T9" fmla="*/ 420 h 550"/>
              <a:gd name="T10" fmla="*/ 169 w 738"/>
              <a:gd name="T11" fmla="*/ 550 h 550"/>
              <a:gd name="T12" fmla="*/ 0 w 738"/>
              <a:gd name="T13" fmla="*/ 367 h 550"/>
              <a:gd name="T14" fmla="*/ 402 w 738"/>
              <a:gd name="T15" fmla="*/ 367 h 550"/>
              <a:gd name="T16" fmla="*/ 726 w 738"/>
              <a:gd name="T17" fmla="*/ 0 h 550"/>
              <a:gd name="T18" fmla="*/ 738 w 738"/>
              <a:gd name="T19" fmla="*/ 31 h 550"/>
              <a:gd name="T20" fmla="*/ 544 w 738"/>
              <a:gd name="T21" fmla="*/ 283 h 550"/>
              <a:gd name="T22" fmla="*/ 712 w 738"/>
              <a:gd name="T23" fmla="*/ 420 h 550"/>
              <a:gd name="T24" fmla="*/ 572 w 738"/>
              <a:gd name="T25" fmla="*/ 550 h 550"/>
              <a:gd name="T26" fmla="*/ 402 w 738"/>
              <a:gd name="T27" fmla="*/ 36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38" h="550">
                <a:moveTo>
                  <a:pt x="0" y="367"/>
                </a:moveTo>
                <a:cubicBezTo>
                  <a:pt x="0" y="213"/>
                  <a:pt x="125" y="68"/>
                  <a:pt x="324" y="0"/>
                </a:cubicBezTo>
                <a:cubicBezTo>
                  <a:pt x="335" y="31"/>
                  <a:pt x="335" y="31"/>
                  <a:pt x="335" y="31"/>
                </a:cubicBezTo>
                <a:cubicBezTo>
                  <a:pt x="203" y="90"/>
                  <a:pt x="144" y="185"/>
                  <a:pt x="142" y="283"/>
                </a:cubicBezTo>
                <a:cubicBezTo>
                  <a:pt x="255" y="298"/>
                  <a:pt x="312" y="345"/>
                  <a:pt x="312" y="420"/>
                </a:cubicBezTo>
                <a:cubicBezTo>
                  <a:pt x="312" y="496"/>
                  <a:pt x="250" y="550"/>
                  <a:pt x="169" y="550"/>
                </a:cubicBezTo>
                <a:cubicBezTo>
                  <a:pt x="68" y="550"/>
                  <a:pt x="0" y="468"/>
                  <a:pt x="0" y="367"/>
                </a:cubicBezTo>
                <a:close/>
                <a:moveTo>
                  <a:pt x="402" y="367"/>
                </a:moveTo>
                <a:cubicBezTo>
                  <a:pt x="402" y="213"/>
                  <a:pt x="527" y="68"/>
                  <a:pt x="726" y="0"/>
                </a:cubicBezTo>
                <a:cubicBezTo>
                  <a:pt x="738" y="31"/>
                  <a:pt x="738" y="31"/>
                  <a:pt x="738" y="31"/>
                </a:cubicBezTo>
                <a:cubicBezTo>
                  <a:pt x="605" y="90"/>
                  <a:pt x="546" y="185"/>
                  <a:pt x="544" y="283"/>
                </a:cubicBezTo>
                <a:cubicBezTo>
                  <a:pt x="656" y="298"/>
                  <a:pt x="712" y="345"/>
                  <a:pt x="712" y="420"/>
                </a:cubicBezTo>
                <a:cubicBezTo>
                  <a:pt x="712" y="496"/>
                  <a:pt x="652" y="550"/>
                  <a:pt x="572" y="550"/>
                </a:cubicBezTo>
                <a:cubicBezTo>
                  <a:pt x="468" y="550"/>
                  <a:pt x="402" y="468"/>
                  <a:pt x="402" y="3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</p:spTree>
    <p:extLst>
      <p:ext uri="{BB962C8B-B14F-4D97-AF65-F5344CB8AC3E}">
        <p14:creationId xmlns:p14="http://schemas.microsoft.com/office/powerpoint/2010/main" val="1317938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C0A7896-B08E-4A05-8D6A-2AD8F0A127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8500" y="0"/>
            <a:ext cx="5905500" cy="5143500"/>
          </a:xfrm>
        </p:spPr>
        <p:txBody>
          <a:bodyPr/>
          <a:lstStyle/>
          <a:p>
            <a:pPr marL="0" marR="0" lvl="0" indent="0" algn="l" defTabSz="171440" rtl="0" eaLnBrk="0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A739712-3A37-4796-AD90-4E44AB68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2663850" cy="3689634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7447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C0A7896-B08E-4A05-8D6A-2AD8F0A127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052513"/>
            <a:ext cx="9144000" cy="4090988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FC74C-DBE2-4A90-853F-06AF87BC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8070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92E29A5-4A67-4375-926E-C0F7CA20D5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90060" y="1905000"/>
            <a:ext cx="2666405" cy="2667000"/>
          </a:xfrm>
          <a:solidFill>
            <a:schemeClr val="bg1"/>
          </a:solidFill>
          <a:ln w="25400">
            <a:noFill/>
          </a:ln>
        </p:spPr>
        <p:txBody>
          <a:bodyPr lIns="189000" tIns="180000" rIns="0" bIns="0"/>
          <a:lstStyle>
            <a:lvl1pPr eaLnBrk="1">
              <a:spcAft>
                <a:spcPts val="675"/>
              </a:spcAft>
              <a:defRPr sz="3300" spc="0">
                <a:solidFill>
                  <a:schemeClr val="tx2"/>
                </a:solidFill>
                <a:latin typeface="+mn-lt"/>
              </a:defRPr>
            </a:lvl1pPr>
            <a:lvl2pPr>
              <a:defRPr sz="1200" spc="0">
                <a:solidFill>
                  <a:schemeClr val="tx2"/>
                </a:solidFill>
              </a:defRPr>
            </a:lvl2pPr>
            <a:lvl3pPr>
              <a:defRPr sz="1200" spc="0">
                <a:solidFill>
                  <a:schemeClr val="tx2"/>
                </a:solidFill>
              </a:defRPr>
            </a:lvl3pPr>
            <a:lvl4pPr>
              <a:defRPr sz="1200" spc="0">
                <a:solidFill>
                  <a:schemeClr val="tx2"/>
                </a:solidFill>
              </a:defRPr>
            </a:lvl4pPr>
            <a:lvl5pPr>
              <a:defRPr sz="120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err="1"/>
              <a:t>Big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021EF6E-D5E1-4ECF-8E04-FAC0B30D54F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26883" y="2073134"/>
            <a:ext cx="445500" cy="445500"/>
          </a:xfrm>
          <a:prstGeom prst="ellipse">
            <a:avLst/>
          </a:prstGeom>
          <a:solidFill>
            <a:srgbClr val="D52219"/>
          </a:solidFill>
        </p:spPr>
        <p:txBody>
          <a:bodyPr lIns="0" rIns="0" bIns="0" anchor="ctr" anchorCtr="0"/>
          <a:lstStyle>
            <a:lvl1pPr algn="ctr">
              <a:lnSpc>
                <a:spcPct val="100000"/>
              </a:lnSpc>
              <a:defRPr sz="525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9473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u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C9EA5B-A488-4CAB-AEBE-CD42E5F74EB2}"/>
              </a:ext>
            </a:extLst>
          </p:cNvPr>
          <p:cNvSpPr>
            <a:spLocks/>
          </p:cNvSpPr>
          <p:nvPr/>
        </p:nvSpPr>
        <p:spPr>
          <a:xfrm>
            <a:off x="0" y="1052513"/>
            <a:ext cx="9144000" cy="4090988"/>
          </a:xfrm>
          <a:prstGeom prst="rect">
            <a:avLst/>
          </a:prstGeom>
          <a:solidFill>
            <a:srgbClr val="5FF0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US" sz="1013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FC74C-DBE2-4A90-853F-06AF87BC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7210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8A19B06-70D3-454A-BCAF-D3A3DA785C4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160A9-8E40-43A2-86C8-A3E5804EE6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2664619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1125" spc="0">
                <a:solidFill>
                  <a:schemeClr val="tx2"/>
                </a:solidFill>
                <a:latin typeface="+mn-lt"/>
              </a:defRPr>
            </a:lvl1pPr>
            <a:lvl2pPr marL="0" indent="0" algn="l" eaLnBrk="1">
              <a:spcBef>
                <a:spcPts val="1519"/>
              </a:spcBef>
              <a:buNone/>
              <a:defRPr sz="788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Presenter Name">
            <a:extLst>
              <a:ext uri="{FF2B5EF4-FFF2-40B4-BE49-F238E27FC236}">
                <a16:creationId xmlns:a16="http://schemas.microsoft.com/office/drawing/2014/main" id="{B429C8AC-5DA6-4427-BBFC-1E6235DFB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1440C4-9972-4A20-995D-4F6A1356B50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/>
            </a:lvl1pPr>
          </a:lstStyle>
          <a:p>
            <a:r>
              <a:rPr lang="en-US"/>
              <a:t>Optional footer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507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editori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olid_bg">
            <a:extLst>
              <a:ext uri="{FF2B5EF4-FFF2-40B4-BE49-F238E27FC236}">
                <a16:creationId xmlns:a16="http://schemas.microsoft.com/office/drawing/2014/main" id="{CB557A8C-835E-42A5-B7BE-C4579D980C1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8568929" cy="2273323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22C615AF-37E1-4544-8938-A6036672C69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900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18" name="Presenter Name">
            <a:extLst>
              <a:ext uri="{FF2B5EF4-FFF2-40B4-BE49-F238E27FC236}">
                <a16:creationId xmlns:a16="http://schemas.microsoft.com/office/drawing/2014/main" id="{BFCF1E68-A185-43EE-8A89-733E01BBDA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104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1" name="circle1">
            <a:extLst>
              <a:ext uri="{FF2B5EF4-FFF2-40B4-BE49-F238E27FC236}">
                <a16:creationId xmlns:a16="http://schemas.microsoft.com/office/drawing/2014/main" id="{BCF3840A-3E36-48F9-891F-2A2C286B2C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104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4804212-161D-4ABB-89D4-DE8431CF3A41}"/>
              </a:ext>
            </a:extLst>
          </p:cNvPr>
          <p:cNvCxnSpPr>
            <a:cxnSpLocks/>
          </p:cNvCxnSpPr>
          <p:nvPr/>
        </p:nvCxnSpPr>
        <p:spPr>
          <a:xfrm>
            <a:off x="161448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resenter Name">
            <a:extLst>
              <a:ext uri="{FF2B5EF4-FFF2-40B4-BE49-F238E27FC236}">
                <a16:creationId xmlns:a16="http://schemas.microsoft.com/office/drawing/2014/main" id="{74168AF6-DA43-4D10-994E-B4D0A97638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7896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3" name="circle2">
            <a:extLst>
              <a:ext uri="{FF2B5EF4-FFF2-40B4-BE49-F238E27FC236}">
                <a16:creationId xmlns:a16="http://schemas.microsoft.com/office/drawing/2014/main" id="{E70FF7C0-F255-4D33-A6E2-93643A8C2B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7896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C9E60A-38B9-4A75-9AAC-140E54906963}"/>
              </a:ext>
            </a:extLst>
          </p:cNvPr>
          <p:cNvCxnSpPr>
            <a:cxnSpLocks/>
          </p:cNvCxnSpPr>
          <p:nvPr/>
        </p:nvCxnSpPr>
        <p:spPr>
          <a:xfrm>
            <a:off x="3081338" y="3616278"/>
            <a:ext cx="0" cy="95572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resenter Name">
            <a:extLst>
              <a:ext uri="{FF2B5EF4-FFF2-40B4-BE49-F238E27FC236}">
                <a16:creationId xmlns:a16="http://schemas.microsoft.com/office/drawing/2014/main" id="{28B81564-AB02-47E4-9423-6FABF3BA6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9033" y="4050000"/>
            <a:ext cx="1262720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26" name="circle3">
            <a:extLst>
              <a:ext uri="{FF2B5EF4-FFF2-40B4-BE49-F238E27FC236}">
                <a16:creationId xmlns:a16="http://schemas.microsoft.com/office/drawing/2014/main" id="{8986AF2C-10F9-4770-8613-5FAA70145F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9033" y="3616278"/>
            <a:ext cx="288900" cy="288900"/>
          </a:xfrm>
          <a:prstGeom prst="ellipse">
            <a:avLst/>
          </a:prstGeom>
          <a:solidFill>
            <a:srgbClr val="D52219"/>
          </a:solidFill>
        </p:spPr>
        <p:txBody>
          <a:bodyPr wrap="square" lIns="0" rIns="0" bIns="0" anchor="ctr" anchorCtr="0">
            <a:noAutofit/>
          </a:bodyPr>
          <a:lstStyle>
            <a:lvl1pPr algn="ctr" eaLnBrk="0">
              <a:spcBef>
                <a:spcPts val="675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675" b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GB" dirty="0"/>
              <a:t>0</a:t>
            </a: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516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678656"/>
            <a:ext cx="8568929" cy="869317"/>
          </a:xfrm>
        </p:spPr>
        <p:txBody>
          <a:bodyPr lIns="0" rIns="0" bIns="0" anchor="b" anchorCtr="0"/>
          <a:lstStyle>
            <a:lvl1pPr>
              <a:defRPr sz="405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160A9-8E40-43A2-86C8-A3E5804EE6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124182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050" spc="0"/>
            </a:lvl1pPr>
            <a:lvl2pPr marL="0" indent="0" algn="l">
              <a:spcBef>
                <a:spcPts val="1519"/>
              </a:spcBef>
              <a:buNone/>
              <a:defRPr sz="1050" spc="0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22C615AF-37E1-4544-8938-A6036672C69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131" y="4843424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19" name="Presenter Name">
            <a:extLst>
              <a:ext uri="{FF2B5EF4-FFF2-40B4-BE49-F238E27FC236}">
                <a16:creationId xmlns:a16="http://schemas.microsoft.com/office/drawing/2014/main" id="{B429C8AC-5DA6-4427-BBFC-1E6235DFB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2850510"/>
            <a:ext cx="2664619" cy="1238890"/>
          </a:xfrm>
        </p:spPr>
        <p:txBody>
          <a:bodyPr wrap="square" lIns="0" rIns="0" bIns="0" anchor="b" anchorCtr="0">
            <a:noAutofit/>
          </a:bodyPr>
          <a:lstStyle>
            <a:lvl1pPr>
              <a:spcBef>
                <a:spcPts val="675"/>
              </a:spcBef>
              <a:defRPr sz="900" b="1" spc="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900" spc="0" baseline="0">
                <a:solidFill>
                  <a:schemeClr val="tx2"/>
                </a:solidFill>
              </a:defRPr>
            </a:lvl2pPr>
          </a:lstStyle>
          <a:p>
            <a:r>
              <a:rPr lang="en-US" dirty="0"/>
              <a:t>Presenter name </a:t>
            </a:r>
          </a:p>
          <a:p>
            <a:pPr lvl="1"/>
            <a:r>
              <a:rPr lang="en-US" dirty="0"/>
              <a:t>Presenter title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269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lid_bg">
            <a:extLst>
              <a:ext uri="{FF2B5EF4-FFF2-40B4-BE49-F238E27FC236}">
                <a16:creationId xmlns:a16="http://schemas.microsoft.com/office/drawing/2014/main" id="{BD2F90E5-5907-4D9D-9685-3847C841FDF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C6144-6F8D-4632-AFF6-21FC754E2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499" y="243530"/>
            <a:ext cx="5617369" cy="4328470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3"/>
              </a:spcBef>
              <a:buNone/>
              <a:defRPr sz="1400" b="0" spc="0">
                <a:solidFill>
                  <a:schemeClr val="tx1"/>
                </a:solidFill>
              </a:defRPr>
            </a:lvl2pPr>
            <a:lvl3pPr marL="152698" indent="-152698">
              <a:lnSpc>
                <a:spcPct val="100000"/>
              </a:lnSpc>
              <a:spcBef>
                <a:spcPts val="1013"/>
              </a:spcBef>
              <a:defRPr sz="1400" b="0" spc="0">
                <a:solidFill>
                  <a:schemeClr val="tx1"/>
                </a:solidFill>
              </a:defRPr>
            </a:lvl3pPr>
            <a:lvl4pPr marL="304503" indent="-151805"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85E93DD0-C76D-4F4D-B9E9-68363D350B0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88131" y="288131"/>
            <a:ext cx="640080" cy="640080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resenter Name">
            <a:extLst>
              <a:ext uri="{FF2B5EF4-FFF2-40B4-BE49-F238E27FC236}">
                <a16:creationId xmlns:a16="http://schemas.microsoft.com/office/drawing/2014/main" id="{04FA2E17-4E7E-4AE0-B5A5-5C891F3A74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1052513"/>
            <a:ext cx="1472407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591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</a:p>
          <a:p>
            <a:pPr lvl="1"/>
            <a:r>
              <a:rPr lang="en-GB" dirty="0"/>
              <a:t>Job title goes here 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5552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20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160A9-8E40-43A2-86C8-A3E5804EE6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5906948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3200" spc="0">
                <a:solidFill>
                  <a:schemeClr val="tx1"/>
                </a:solidFill>
                <a:latin typeface="+mn-lt"/>
              </a:defRPr>
            </a:lvl1pPr>
            <a:lvl2pPr marL="0" indent="0" algn="l" eaLnBrk="1">
              <a:spcBef>
                <a:spcPts val="1519"/>
              </a:spcBef>
              <a:buNone/>
              <a:defRPr sz="788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>
            <a:extLst>
              <a:ext uri="{FF2B5EF4-FFF2-40B4-BE49-F238E27FC236}">
                <a16:creationId xmlns:a16="http://schemas.microsoft.com/office/drawing/2014/main" id="{B429C8AC-5DA6-4427-BBFC-1E6235DFB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1440C4-9972-4A20-995D-4F6A1356B50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6314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939086E3-36CE-4A33-9158-48A79B3E0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9699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FB62ED37-840D-4A4C-9CBA-79B7B6443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8900" y="1052512"/>
            <a:ext cx="8562975" cy="2879726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1D5B8C-33AF-4B0B-BD36-14759E1A6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487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D656F-F57E-4415-8FB8-D8673B28A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318E98-5A09-48FB-BD3E-B03716A59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25BCF0C-5CFE-4C24-B5D7-FD45352898D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2663850" cy="1241821"/>
          </a:xfrm>
        </p:spPr>
        <p:txBody>
          <a:bodyPr lIns="0" rIns="0" bIns="0"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1519"/>
              </a:spcBef>
              <a:buNone/>
              <a:defRPr sz="788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88B184B-25A8-4377-A5E2-EAC09991A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4283100" cy="571499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BE1ED590-C7D6-446C-AD5F-2CB12A88D7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770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">
            <a:extLst>
              <a:ext uri="{FF2B5EF4-FFF2-40B4-BE49-F238E27FC236}">
                <a16:creationId xmlns:a16="http://schemas.microsoft.com/office/drawing/2014/main" id="{A00548FF-A274-4B73-ACDA-487D400201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DCB2A6-0D58-4044-A740-A77E684F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13149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EC7ACED8-54CA-46CA-9E3F-CA2DB5D725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7972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6587358-4D60-45FB-99A1-E25FD9DE1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17224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1C4E57AB-2279-45DB-9D48-A329CE921A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288012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F8EF88-0375-4391-84A6-959704E8C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04812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FD6B92FB-9FDB-4FF9-BC81-F2AC7B37D9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4BDD722-AA87-4C23-8BF9-5A4977B7CE9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13175" y="1052513"/>
            <a:ext cx="4140994" cy="2879725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9E4967-9E55-47B4-8FE9-2C6D92E83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2416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">
            <a:extLst>
              <a:ext uri="{FF2B5EF4-FFF2-40B4-BE49-F238E27FC236}">
                <a16:creationId xmlns:a16="http://schemas.microsoft.com/office/drawing/2014/main" id="{7A9EEEC9-88CA-4CB9-B54F-77FAA0F427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23D2F14C-54EF-44A9-89C1-E3557B35BE1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288900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DDCF888-15FC-4366-9DAC-89481925FF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Title Placeholder 1">
            <a:extLst>
              <a:ext uri="{FF2B5EF4-FFF2-40B4-BE49-F238E27FC236}">
                <a16:creationId xmlns:a16="http://schemas.microsoft.com/office/drawing/2014/main" id="{707B5C06-9A8A-4460-9692-69AB6AB063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8900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Title Placeholder 2">
            <a:extLst>
              <a:ext uri="{FF2B5EF4-FFF2-40B4-BE49-F238E27FC236}">
                <a16:creationId xmlns:a16="http://schemas.microsoft.com/office/drawing/2014/main" id="{3563387D-87B5-4FFA-9A28-463D0B0C0C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 eaLnBrk="0">
              <a:buNone/>
              <a:defRPr sz="14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52C11F0-554C-4199-A9DC-2E8EBA2E9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EF2A8EA-D72F-466F-BB78-6A7D82E03B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F55E628-B412-4C72-8B76-B8DA6A7F5E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7160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>
            <a:extLst>
              <a:ext uri="{FF2B5EF4-FFF2-40B4-BE49-F238E27FC236}">
                <a16:creationId xmlns:a16="http://schemas.microsoft.com/office/drawing/2014/main" id="{AD86CC53-7E9A-4909-912C-BCD3C95695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90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B238C-28EB-449A-9B50-BBD778FDF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33C6C2-E823-48AC-B2F8-02BD7FE6F5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C2B11C-096E-4473-971C-D593F2B76D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2718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note">
            <a:extLst>
              <a:ext uri="{FF2B5EF4-FFF2-40B4-BE49-F238E27FC236}">
                <a16:creationId xmlns:a16="http://schemas.microsoft.com/office/drawing/2014/main" id="{8A994DDA-EEE5-4BC0-A900-EFDF92C1F5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503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Title Placeholder 1">
            <a:extLst>
              <a:ext uri="{FF2B5EF4-FFF2-40B4-BE49-F238E27FC236}">
                <a16:creationId xmlns:a16="http://schemas.microsoft.com/office/drawing/2014/main" id="{777D9628-4C86-4322-A3A3-0123433EF86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top_border">
            <a:extLst>
              <a:ext uri="{FF2B5EF4-FFF2-40B4-BE49-F238E27FC236}">
                <a16:creationId xmlns:a16="http://schemas.microsoft.com/office/drawing/2014/main" id="{D38199F1-C2F8-45A5-A18E-FE013F96B37B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8CAABFA-D034-4216-BF6C-EB331CD90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22948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>
            <a:extLst>
              <a:ext uri="{FF2B5EF4-FFF2-40B4-BE49-F238E27FC236}">
                <a16:creationId xmlns:a16="http://schemas.microsoft.com/office/drawing/2014/main" id="{FF8D7FCB-9731-45B2-8A10-E0680B62E9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>
            <a:extLst>
              <a:ext uri="{FF2B5EF4-FFF2-40B4-BE49-F238E27FC236}">
                <a16:creationId xmlns:a16="http://schemas.microsoft.com/office/drawing/2014/main" id="{64F22040-5F6D-44FB-885D-8112F0D57F0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Title Placeholder 2">
            <a:extLst>
              <a:ext uri="{FF2B5EF4-FFF2-40B4-BE49-F238E27FC236}">
                <a16:creationId xmlns:a16="http://schemas.microsoft.com/office/drawing/2014/main" id="{5DBAD550-03BB-47CF-ACF2-0B0714B3E79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027761B-C80E-4C6B-8EB5-71AEF5E49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492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8A19B06-70D3-454A-BCAF-D3A3DA785C4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80B0ABE3-E657-4356-AF7A-982F7AA04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1023914"/>
            <a:ext cx="5900763" cy="869317"/>
          </a:xfrm>
        </p:spPr>
        <p:txBody>
          <a:bodyPr lIns="0" rIns="0" bIns="0" anchor="t" anchorCtr="0"/>
          <a:lstStyle>
            <a:lvl1pPr>
              <a:lnSpc>
                <a:spcPct val="92000"/>
              </a:lnSpc>
              <a:defRPr sz="3200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160A9-8E40-43A2-86C8-A3E5804EE6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958120"/>
            <a:ext cx="5899066" cy="694553"/>
          </a:xfrm>
        </p:spPr>
        <p:txBody>
          <a:bodyPr lIns="0" rIns="0" bIns="0"/>
          <a:lstStyle>
            <a:lvl1pPr marL="0" indent="0" algn="l" eaLnBrk="1">
              <a:lnSpc>
                <a:spcPct val="90000"/>
              </a:lnSpc>
              <a:spcBef>
                <a:spcPts val="0"/>
              </a:spcBef>
              <a:buNone/>
              <a:defRPr sz="3200" spc="0">
                <a:solidFill>
                  <a:schemeClr val="tx2"/>
                </a:solidFill>
                <a:latin typeface="+mn-lt"/>
              </a:defRPr>
            </a:lvl1pPr>
            <a:lvl2pPr marL="0" indent="0" algn="l" eaLnBrk="1">
              <a:spcBef>
                <a:spcPts val="1519"/>
              </a:spcBef>
              <a:buNone/>
              <a:defRPr sz="788" spc="0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Presenter Name">
            <a:extLst>
              <a:ext uri="{FF2B5EF4-FFF2-40B4-BE49-F238E27FC236}">
                <a16:creationId xmlns:a16="http://schemas.microsoft.com/office/drawing/2014/main" id="{B429C8AC-5DA6-4427-BBFC-1E6235DFB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3076460"/>
            <a:ext cx="1935188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lnSpc>
                <a:spcPct val="100000"/>
              </a:lnSpc>
              <a:spcBef>
                <a:spcPts val="0"/>
              </a:spcBef>
              <a:defRPr sz="9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0" spc="0" baseline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900" spc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r>
              <a:rPr lang="en-US" dirty="0"/>
              <a:t>Title here  </a:t>
            </a:r>
          </a:p>
          <a:p>
            <a:pPr lvl="1"/>
            <a:r>
              <a:rPr lang="en-GB" dirty="0"/>
              <a:t>Content description can span over two lines </a:t>
            </a:r>
          </a:p>
          <a:p>
            <a:pPr lvl="2"/>
            <a:r>
              <a:rPr lang="en-GB" dirty="0"/>
              <a:t>Page 0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1440C4-9972-4A20-995D-4F6A1356B50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952451" y="4828510"/>
            <a:ext cx="5902923" cy="136525"/>
          </a:xfrm>
        </p:spPr>
        <p:txBody>
          <a:bodyPr lIns="0" rIns="0" bIns="0" anchor="ctr"/>
          <a:lstStyle>
            <a:lvl1pPr algn="r">
              <a:defRPr/>
            </a:lvl1pPr>
          </a:lstStyle>
          <a:p>
            <a:r>
              <a:rPr lang="en-US"/>
              <a:t>Optional footer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8831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>
            <a:extLst>
              <a:ext uri="{FF2B5EF4-FFF2-40B4-BE49-F238E27FC236}">
                <a16:creationId xmlns:a16="http://schemas.microsoft.com/office/drawing/2014/main" id="{BAFA1273-7643-4AD0-9745-35B243C4E7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Title Placeholder 1">
            <a:extLst>
              <a:ext uri="{FF2B5EF4-FFF2-40B4-BE49-F238E27FC236}">
                <a16:creationId xmlns:a16="http://schemas.microsoft.com/office/drawing/2014/main" id="{F869446F-4744-45C8-BBA1-A9260F5B850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BFE9E14-4604-4701-83B9-AA40A0EDD4B5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2">
            <a:extLst>
              <a:ext uri="{FF2B5EF4-FFF2-40B4-BE49-F238E27FC236}">
                <a16:creationId xmlns:a16="http://schemas.microsoft.com/office/drawing/2014/main" id="{B6D586CB-340B-4C0F-AA2C-11AA69725E3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4ADA90-AEB5-495A-A82C-A8027A598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0DC4ABBF-698D-4B74-8ABF-E2FEEED6A780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>
            <a:extLst>
              <a:ext uri="{FF2B5EF4-FFF2-40B4-BE49-F238E27FC236}">
                <a16:creationId xmlns:a16="http://schemas.microsoft.com/office/drawing/2014/main" id="{3A109750-BE33-4E51-9DB4-AE929906A1E9}"/>
              </a:ext>
            </a:extLst>
          </p:cNvPr>
          <p:cNvCxnSpPr>
            <a:cxnSpLocks/>
          </p:cNvCxnSpPr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2975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note">
            <a:extLst>
              <a:ext uri="{FF2B5EF4-FFF2-40B4-BE49-F238E27FC236}">
                <a16:creationId xmlns:a16="http://schemas.microsoft.com/office/drawing/2014/main" id="{E6A7E2A9-55CE-4DA2-9382-0ED46CC4B7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noFill/>
        </p:spPr>
        <p:txBody>
          <a:bodyPr lIns="0" rIns="0" bIns="0" anchor="ctr" anchorCtr="0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Title Placeholder 1">
            <a:extLst>
              <a:ext uri="{FF2B5EF4-FFF2-40B4-BE49-F238E27FC236}">
                <a16:creationId xmlns:a16="http://schemas.microsoft.com/office/drawing/2014/main" id="{EBDF9948-A04A-44FB-848B-89758DB4A3C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6072902" cy="184666"/>
          </a:xfrm>
        </p:spPr>
        <p:txBody>
          <a:bodyPr wrap="square"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 eaLnBrk="1">
              <a:defRPr sz="3200" b="1" spc="0">
                <a:latin typeface="+mj-lt"/>
              </a:defRPr>
            </a:lvl1pPr>
            <a:lvl2pPr eaLnBrk="1">
              <a:defRPr sz="900" spc="0"/>
            </a:lvl2pPr>
            <a:lvl3pPr eaLnBrk="1">
              <a:defRPr sz="900" spc="0"/>
            </a:lvl3pPr>
            <a:lvl4pPr eaLnBrk="1">
              <a:defRPr sz="900" spc="0"/>
            </a:lvl4pPr>
            <a:lvl5pPr eaLnBrk="1">
              <a:defRPr sz="900" spc="0"/>
            </a:lvl5pPr>
          </a:lstStyle>
          <a:p>
            <a:pPr lvl="0"/>
            <a:r>
              <a:rPr lang="en-US" dirty="0"/>
              <a:t>Callou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79336-5C15-48A9-AC00-517461969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top_border">
            <a:extLst>
              <a:ext uri="{FF2B5EF4-FFF2-40B4-BE49-F238E27FC236}">
                <a16:creationId xmlns:a16="http://schemas.microsoft.com/office/drawing/2014/main" id="{99CBF877-6CA0-4637-B69A-A0A8F677A5BF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3688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">
            <a:extLst>
              <a:ext uri="{FF2B5EF4-FFF2-40B4-BE49-F238E27FC236}">
                <a16:creationId xmlns:a16="http://schemas.microsoft.com/office/drawing/2014/main" id="{FF8D7FCB-9731-45B2-8A10-E0680B62E9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66867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>
            <a:extLst>
              <a:ext uri="{FF2B5EF4-FFF2-40B4-BE49-F238E27FC236}">
                <a16:creationId xmlns:a16="http://schemas.microsoft.com/office/drawing/2014/main" id="{64F22040-5F6D-44FB-885D-8112F0D57F0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Title Placeholder 2">
            <a:extLst>
              <a:ext uri="{FF2B5EF4-FFF2-40B4-BE49-F238E27FC236}">
                <a16:creationId xmlns:a16="http://schemas.microsoft.com/office/drawing/2014/main" id="{5DBAD550-03BB-47CF-ACF2-0B0714B3E7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8620861-0A25-4981-A76E-BA0A04206818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Title Placeholder 3">
            <a:extLst>
              <a:ext uri="{FF2B5EF4-FFF2-40B4-BE49-F238E27FC236}">
                <a16:creationId xmlns:a16="http://schemas.microsoft.com/office/drawing/2014/main" id="{A6A0910D-C290-4090-96B8-35D768836411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84666"/>
          </a:xfrm>
        </p:spPr>
        <p:txBody>
          <a:bodyPr lIns="13716" rIns="0" bIns="0">
            <a:spAutoFit/>
          </a:bodyPr>
          <a:lstStyle>
            <a:lvl1pPr eaLnBrk="1">
              <a:spcBef>
                <a:spcPts val="0"/>
              </a:spcBef>
              <a:defRPr sz="12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0027761B-C80E-4C6B-8EB5-71AEF5E49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7" name="top_border">
            <a:extLst>
              <a:ext uri="{FF2B5EF4-FFF2-40B4-BE49-F238E27FC236}">
                <a16:creationId xmlns:a16="http://schemas.microsoft.com/office/drawing/2014/main" id="{46B22567-79DB-47D1-9BB5-4ACFF612208C}"/>
              </a:ext>
            </a:extLst>
          </p:cNvPr>
          <p:cNvCxnSpPr>
            <a:cxnSpLocks/>
          </p:cNvCxnSpPr>
          <p:nvPr/>
        </p:nvCxnSpPr>
        <p:spPr>
          <a:xfrm>
            <a:off x="6189663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8353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ootnote">
            <a:extLst>
              <a:ext uri="{FF2B5EF4-FFF2-40B4-BE49-F238E27FC236}">
                <a16:creationId xmlns:a16="http://schemas.microsoft.com/office/drawing/2014/main" id="{4F170681-6AD8-4293-9718-0C9C526719D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Title Placeholder 1">
            <a:extLst>
              <a:ext uri="{FF2B5EF4-FFF2-40B4-BE49-F238E27FC236}">
                <a16:creationId xmlns:a16="http://schemas.microsoft.com/office/drawing/2014/main" id="{CE018C63-1ABC-49FA-961D-21DB024D8D3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Title Placeholder 2">
            <a:extLst>
              <a:ext uri="{FF2B5EF4-FFF2-40B4-BE49-F238E27FC236}">
                <a16:creationId xmlns:a16="http://schemas.microsoft.com/office/drawing/2014/main" id="{2EF14EF6-61A8-4590-BE16-76554341180B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252013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Title Placeholder 3">
            <a:extLst>
              <a:ext uri="{FF2B5EF4-FFF2-40B4-BE49-F238E27FC236}">
                <a16:creationId xmlns:a16="http://schemas.microsoft.com/office/drawing/2014/main" id="{7F141F40-13EF-48A0-8DCD-4C3CE08CC34A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4712003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Title Placeholder 4">
            <a:extLst>
              <a:ext uri="{FF2B5EF4-FFF2-40B4-BE49-F238E27FC236}">
                <a16:creationId xmlns:a16="http://schemas.microsoft.com/office/drawing/2014/main" id="{21CF22A8-0C66-4834-BB6E-DB85A3776D44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910598" y="1090175"/>
            <a:ext cx="1903950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BFADA-2E17-43A8-B6B2-31B80ADF3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6" name="top_border">
            <a:extLst>
              <a:ext uri="{FF2B5EF4-FFF2-40B4-BE49-F238E27FC236}">
                <a16:creationId xmlns:a16="http://schemas.microsoft.com/office/drawing/2014/main" id="{EE60BCBE-FC5D-4394-8F4A-88CF4A4B657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>
            <a:extLst>
              <a:ext uri="{FF2B5EF4-FFF2-40B4-BE49-F238E27FC236}">
                <a16:creationId xmlns:a16="http://schemas.microsoft.com/office/drawing/2014/main" id="{494690CD-B0F2-48F4-AD1E-680D9F9AF618}"/>
              </a:ext>
            </a:extLst>
          </p:cNvPr>
          <p:cNvCxnSpPr>
            <a:cxnSpLocks/>
          </p:cNvCxnSpPr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>
            <a:extLst>
              <a:ext uri="{FF2B5EF4-FFF2-40B4-BE49-F238E27FC236}">
                <a16:creationId xmlns:a16="http://schemas.microsoft.com/office/drawing/2014/main" id="{F20FD8F4-0B33-4D15-84FD-7F39369504F6}"/>
              </a:ext>
            </a:extLst>
          </p:cNvPr>
          <p:cNvCxnSpPr>
            <a:cxnSpLocks/>
          </p:cNvCxnSpPr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>
            <a:extLst>
              <a:ext uri="{FF2B5EF4-FFF2-40B4-BE49-F238E27FC236}">
                <a16:creationId xmlns:a16="http://schemas.microsoft.com/office/drawing/2014/main" id="{11E189EF-2260-4D96-82F1-2CE91956FB29}"/>
              </a:ext>
            </a:extLst>
          </p:cNvPr>
          <p:cNvCxnSpPr>
            <a:cxnSpLocks/>
          </p:cNvCxnSpPr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4094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">
            <a:extLst>
              <a:ext uri="{FF2B5EF4-FFF2-40B4-BE49-F238E27FC236}">
                <a16:creationId xmlns:a16="http://schemas.microsoft.com/office/drawing/2014/main" id="{2C4E0CD0-17D7-47C5-A3CB-8D104781EE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/>
          </p:nvPr>
        </p:nvSpPr>
        <p:spPr>
          <a:xfrm>
            <a:off x="2518840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/>
          </p:nvPr>
        </p:nvSpPr>
        <p:spPr>
          <a:xfrm>
            <a:off x="4701505" y="1090175"/>
            <a:ext cx="19501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9DED915A-F4A2-468F-A224-9D9F79397D9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/>
          </p:nvPr>
        </p:nvSpPr>
        <p:spPr>
          <a:xfrm>
            <a:off x="6884168" y="1090175"/>
            <a:ext cx="1950188" cy="182880"/>
          </a:xfrm>
        </p:spPr>
        <p:txBody>
          <a:bodyPr lIns="0" rIns="0" bIns="0"/>
          <a:lstStyle>
            <a:lvl1pPr eaLnBrk="1">
              <a:spcBef>
                <a:spcPts val="0"/>
              </a:spcBef>
              <a:defRPr sz="10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D6773A96-7DD8-44D1-BDFB-C46002148B6F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DE241C-6E45-4B71-A681-4E6270783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0" name="top_border">
            <a:extLst>
              <a:ext uri="{FF2B5EF4-FFF2-40B4-BE49-F238E27FC236}">
                <a16:creationId xmlns:a16="http://schemas.microsoft.com/office/drawing/2014/main" id="{36CF564B-B5B0-4440-96C7-A82AC49AE54C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59657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>
            <a:extLst>
              <a:ext uri="{FF2B5EF4-FFF2-40B4-BE49-F238E27FC236}">
                <a16:creationId xmlns:a16="http://schemas.microsoft.com/office/drawing/2014/main" id="{DE8E33C0-0B0B-4281-8816-AB72A17B5E9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 eaLnBrk="1">
              <a:defRPr sz="10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 eaLnBrk="1">
              <a:spcBef>
                <a:spcPts val="0"/>
              </a:spcBef>
              <a:defRPr sz="800" b="1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BD274-92E4-4A69-8358-772DEFF5E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45" name="top_border">
            <a:extLst>
              <a:ext uri="{FF2B5EF4-FFF2-40B4-BE49-F238E27FC236}">
                <a16:creationId xmlns:a16="http://schemas.microsoft.com/office/drawing/2014/main" id="{DD564F40-A94C-4C6B-9D2A-A7F672DB9338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>
            <a:extLst>
              <a:ext uri="{FF2B5EF4-FFF2-40B4-BE49-F238E27FC236}">
                <a16:creationId xmlns:a16="http://schemas.microsoft.com/office/drawing/2014/main" id="{8E298D74-516E-4AE6-A00E-085A771DAA76}"/>
              </a:ext>
            </a:extLst>
          </p:cNvPr>
          <p:cNvCxnSpPr>
            <a:cxnSpLocks/>
          </p:cNvCxnSpPr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>
            <a:extLst>
              <a:ext uri="{FF2B5EF4-FFF2-40B4-BE49-F238E27FC236}">
                <a16:creationId xmlns:a16="http://schemas.microsoft.com/office/drawing/2014/main" id="{9E904036-4DAC-496D-8E62-DC4710658A4A}"/>
              </a:ext>
            </a:extLst>
          </p:cNvPr>
          <p:cNvCxnSpPr>
            <a:cxnSpLocks/>
          </p:cNvCxnSpPr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>
            <a:extLst>
              <a:ext uri="{FF2B5EF4-FFF2-40B4-BE49-F238E27FC236}">
                <a16:creationId xmlns:a16="http://schemas.microsoft.com/office/drawing/2014/main" id="{72E71D1D-31EC-4149-949A-FBD77972D7F1}"/>
              </a:ext>
            </a:extLst>
          </p:cNvPr>
          <p:cNvCxnSpPr>
            <a:cxnSpLocks/>
          </p:cNvCxnSpPr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>
            <a:extLst>
              <a:ext uri="{FF2B5EF4-FFF2-40B4-BE49-F238E27FC236}">
                <a16:creationId xmlns:a16="http://schemas.microsoft.com/office/drawing/2014/main" id="{F04374CE-0341-4030-AE37-4E7BB25979EE}"/>
              </a:ext>
            </a:extLst>
          </p:cNvPr>
          <p:cNvCxnSpPr>
            <a:cxnSpLocks/>
          </p:cNvCxnSpPr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>
            <a:extLst>
              <a:ext uri="{FF2B5EF4-FFF2-40B4-BE49-F238E27FC236}">
                <a16:creationId xmlns:a16="http://schemas.microsoft.com/office/drawing/2014/main" id="{4885E037-1F86-4655-98D1-AB40630436F8}"/>
              </a:ext>
            </a:extLst>
          </p:cNvPr>
          <p:cNvCxnSpPr>
            <a:cxnSpLocks/>
          </p:cNvCxnSpPr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>
            <a:extLst>
              <a:ext uri="{FF2B5EF4-FFF2-40B4-BE49-F238E27FC236}">
                <a16:creationId xmlns:a16="http://schemas.microsoft.com/office/drawing/2014/main" id="{8E61612E-5A27-4169-946C-EFAE4C10E8F6}"/>
              </a:ext>
            </a:extLst>
          </p:cNvPr>
          <p:cNvCxnSpPr>
            <a:cxnSpLocks/>
          </p:cNvCxnSpPr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>
            <a:extLst>
              <a:ext uri="{FF2B5EF4-FFF2-40B4-BE49-F238E27FC236}">
                <a16:creationId xmlns:a16="http://schemas.microsoft.com/office/drawing/2014/main" id="{793F88B3-F7C2-4979-9502-77916FFA0ED6}"/>
              </a:ext>
            </a:extLst>
          </p:cNvPr>
          <p:cNvCxnSpPr>
            <a:cxnSpLocks/>
          </p:cNvCxnSpPr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4767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">
            <a:extLst>
              <a:ext uri="{FF2B5EF4-FFF2-40B4-BE49-F238E27FC236}">
                <a16:creationId xmlns:a16="http://schemas.microsoft.com/office/drawing/2014/main" id="{43B18EE9-FED7-45B6-8CAD-6BD80B08C9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 eaLnBrk="0"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 eaLnBrk="1">
              <a:defRPr sz="10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BE55BB-79B5-4914-A387-995870EB9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650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D571ED62-37A1-4ADD-A3FA-82C527EBD52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5EC70451-B10C-4977-9370-77653FFF3DD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84378BAC-744B-4DC6-BDA3-C15119DA8B6B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8" name="Picture Placeholder 1">
            <a:extLst>
              <a:ext uri="{FF2B5EF4-FFF2-40B4-BE49-F238E27FC236}">
                <a16:creationId xmlns:a16="http://schemas.microsoft.com/office/drawing/2014/main" id="{80ADDD61-DE66-4CBB-8C2B-AC0890694CF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857117" cy="857131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788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7" name="Name Title Placeholder 4">
            <a:extLst>
              <a:ext uri="{FF2B5EF4-FFF2-40B4-BE49-F238E27FC236}">
                <a16:creationId xmlns:a16="http://schemas.microsoft.com/office/drawing/2014/main" id="{EB359154-6BCD-43DE-8401-C3288D4DFC9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936184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5" name="Name Title Placeholder 3">
            <a:extLst>
              <a:ext uri="{FF2B5EF4-FFF2-40B4-BE49-F238E27FC236}">
                <a16:creationId xmlns:a16="http://schemas.microsoft.com/office/drawing/2014/main" id="{DBEF01F8-3FA9-4661-8911-45187A00A74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19769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3" name="Name Title Placeholder 2">
            <a:extLst>
              <a:ext uri="{FF2B5EF4-FFF2-40B4-BE49-F238E27FC236}">
                <a16:creationId xmlns:a16="http://schemas.microsoft.com/office/drawing/2014/main" id="{93B030F6-B30F-4CAE-B55D-B8CBC9B7D0D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503355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Name Title Placeholder 1">
            <a:extLst>
              <a:ext uri="{FF2B5EF4-FFF2-40B4-BE49-F238E27FC236}">
                <a16:creationId xmlns:a16="http://schemas.microsoft.com/office/drawing/2014/main" id="{3BA556DB-9334-4833-BB83-A0D9D6CBB49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8900" y="2204031"/>
            <a:ext cx="1919684" cy="362612"/>
          </a:xfrm>
        </p:spPr>
        <p:txBody>
          <a:bodyPr lIns="0" rIns="0" bIns="0"/>
          <a:lstStyle>
            <a:lvl1pPr eaLnBrk="0">
              <a:lnSpc>
                <a:spcPct val="95000"/>
              </a:lnSpc>
              <a:spcBef>
                <a:spcPts val="0"/>
              </a:spcBef>
              <a:defRPr sz="900" b="0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900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 dirty="0"/>
              <a:t>Click to Master 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25" name="Bullet Placeholder 4">
            <a:extLst>
              <a:ext uri="{FF2B5EF4-FFF2-40B4-BE49-F238E27FC236}">
                <a16:creationId xmlns:a16="http://schemas.microsoft.com/office/drawing/2014/main" id="{F5CD8AD1-77CB-42C2-9B59-C3064DB79481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693618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Bullet Placeholder 3">
            <a:extLst>
              <a:ext uri="{FF2B5EF4-FFF2-40B4-BE49-F238E27FC236}">
                <a16:creationId xmlns:a16="http://schemas.microsoft.com/office/drawing/2014/main" id="{9B112AFD-4A2F-420C-9F84-79D74AF032D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719769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Bullet Placeholder 2">
            <a:extLst>
              <a:ext uri="{FF2B5EF4-FFF2-40B4-BE49-F238E27FC236}">
                <a16:creationId xmlns:a16="http://schemas.microsoft.com/office/drawing/2014/main" id="{2668A636-4EC1-439A-A382-7B7DFDC8402A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2503355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Bullet Placeholder 1">
            <a:extLst>
              <a:ext uri="{FF2B5EF4-FFF2-40B4-BE49-F238E27FC236}">
                <a16:creationId xmlns:a16="http://schemas.microsoft.com/office/drawing/2014/main" id="{4C9E04F5-9560-4728-B2CA-B34A719BCA19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286941" y="2576857"/>
            <a:ext cx="1919684" cy="1995143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900" spc="0">
                <a:latin typeface="+mn-lt"/>
              </a:defRPr>
            </a:lvl1pPr>
            <a:lvl2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2pPr>
            <a:lvl3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3pPr>
            <a:lvl4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4pPr>
            <a:lvl5pPr eaLnBrk="1">
              <a:lnSpc>
                <a:spcPct val="100000"/>
              </a:lnSpc>
              <a:spcBef>
                <a:spcPts val="0"/>
              </a:spcBef>
              <a:defRPr sz="900" spc="0"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50" name="top_border">
            <a:extLst>
              <a:ext uri="{FF2B5EF4-FFF2-40B4-BE49-F238E27FC236}">
                <a16:creationId xmlns:a16="http://schemas.microsoft.com/office/drawing/2014/main" id="{5E9FFEA9-34AD-40FF-8768-F50997D12FF4}"/>
              </a:ext>
            </a:extLst>
          </p:cNvPr>
          <p:cNvCxnSpPr>
            <a:cxnSpLocks/>
          </p:cNvCxnSpPr>
          <p:nvPr/>
        </p:nvCxnSpPr>
        <p:spPr>
          <a:xfrm>
            <a:off x="288900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top_border">
            <a:extLst>
              <a:ext uri="{FF2B5EF4-FFF2-40B4-BE49-F238E27FC236}">
                <a16:creationId xmlns:a16="http://schemas.microsoft.com/office/drawing/2014/main" id="{905DF072-9EE7-409E-BC14-63A27A53C170}"/>
              </a:ext>
            </a:extLst>
          </p:cNvPr>
          <p:cNvCxnSpPr>
            <a:cxnSpLocks/>
          </p:cNvCxnSpPr>
          <p:nvPr/>
        </p:nvCxnSpPr>
        <p:spPr>
          <a:xfrm>
            <a:off x="2503355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>
            <a:extLst>
              <a:ext uri="{FF2B5EF4-FFF2-40B4-BE49-F238E27FC236}">
                <a16:creationId xmlns:a16="http://schemas.microsoft.com/office/drawing/2014/main" id="{02511175-35D0-4BF0-81FA-9FCFD9BE5A06}"/>
              </a:ext>
            </a:extLst>
          </p:cNvPr>
          <p:cNvCxnSpPr>
            <a:cxnSpLocks/>
          </p:cNvCxnSpPr>
          <p:nvPr/>
        </p:nvCxnSpPr>
        <p:spPr>
          <a:xfrm>
            <a:off x="4719769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top_border">
            <a:extLst>
              <a:ext uri="{FF2B5EF4-FFF2-40B4-BE49-F238E27FC236}">
                <a16:creationId xmlns:a16="http://schemas.microsoft.com/office/drawing/2014/main" id="{AC0EC851-46CF-442C-B17A-0D184DBE1F5F}"/>
              </a:ext>
            </a:extLst>
          </p:cNvPr>
          <p:cNvCxnSpPr>
            <a:cxnSpLocks/>
          </p:cNvCxnSpPr>
          <p:nvPr/>
        </p:nvCxnSpPr>
        <p:spPr>
          <a:xfrm>
            <a:off x="6936184" y="2159420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90916FC-3D57-489F-8804-605411923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742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71D5E5-809D-4CA8-92DE-1D9A2DA62E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EDD50B3-A8D6-4FD4-B831-37F14BD08C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94E7927-3F9E-4653-B821-A7C0104E4F6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5705DAA2-41FB-41A1-B19B-801D1EA479D6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1984460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619006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32385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8900" y="1052513"/>
            <a:ext cx="640080" cy="640080"/>
          </a:xfrm>
          <a:prstGeom prst="ellipse">
            <a:avLst/>
          </a:prstGeom>
          <a:noFill/>
        </p:spPr>
        <p:txBody>
          <a:bodyPr lIns="0" rIns="0" bIns="0"/>
          <a:lstStyle>
            <a:lvl1pPr eaLnBrk="1">
              <a:lnSpc>
                <a:spcPct val="90000"/>
              </a:lnSpc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71D5E5-809D-4CA8-92DE-1D9A2DA62E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9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EDD50B3-A8D6-4FD4-B831-37F14BD08C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3850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94E7927-3F9E-4653-B821-A7C0104E4F6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90060" y="1813783"/>
            <a:ext cx="2561456" cy="2118455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">
            <a:extLst>
              <a:ext uri="{FF2B5EF4-FFF2-40B4-BE49-F238E27FC236}">
                <a16:creationId xmlns:a16="http://schemas.microsoft.com/office/drawing/2014/main" id="{9ECE7AA8-D95E-4BF5-8744-81C8E6BBD5B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2317265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lid_bg">
            <a:extLst>
              <a:ext uri="{FF2B5EF4-FFF2-40B4-BE49-F238E27FC236}">
                <a16:creationId xmlns:a16="http://schemas.microsoft.com/office/drawing/2014/main" id="{BD2F90E5-5907-4D9D-9685-3847C841FDF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C6144-6F8D-4632-AFF6-21FC754E2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499" y="243530"/>
            <a:ext cx="5617369" cy="4328470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3"/>
              </a:spcBef>
              <a:buNone/>
              <a:defRPr sz="1400" b="0" spc="0">
                <a:solidFill>
                  <a:schemeClr val="tx1"/>
                </a:solidFill>
              </a:defRPr>
            </a:lvl2pPr>
            <a:lvl3pPr marL="152698" indent="-152698">
              <a:lnSpc>
                <a:spcPct val="100000"/>
              </a:lnSpc>
              <a:spcBef>
                <a:spcPts val="1013"/>
              </a:spcBef>
              <a:defRPr sz="1400" b="0" spc="0">
                <a:solidFill>
                  <a:schemeClr val="tx1"/>
                </a:solidFill>
              </a:defRPr>
            </a:lvl3pPr>
            <a:lvl4pPr marL="304503" indent="-151805"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85E93DD0-C76D-4F4D-B9E9-68363D350B0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288131" y="288131"/>
            <a:ext cx="640080" cy="640080"/>
          </a:xfrm>
          <a:prstGeom prst="ellipse">
            <a:avLst/>
          </a:prstGeom>
        </p:spPr>
        <p:txBody>
          <a:bodyPr lIns="0" rIns="0" bIns="0" anchor="ctr" anchorCtr="0"/>
          <a:lstStyle>
            <a:lvl1pPr algn="ctr" eaLnBrk="1">
              <a:defRPr sz="6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resenter Name">
            <a:extLst>
              <a:ext uri="{FF2B5EF4-FFF2-40B4-BE49-F238E27FC236}">
                <a16:creationId xmlns:a16="http://schemas.microsoft.com/office/drawing/2014/main" id="{04FA2E17-4E7E-4AE0-B5A5-5C891F3A74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1052513"/>
            <a:ext cx="1472407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1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591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</a:p>
          <a:p>
            <a:pPr lvl="1"/>
            <a:r>
              <a:rPr lang="en-GB" dirty="0"/>
              <a:t>Job title goes here 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3795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">
            <a:extLst>
              <a:ext uri="{FF2B5EF4-FFF2-40B4-BE49-F238E27FC236}">
                <a16:creationId xmlns:a16="http://schemas.microsoft.com/office/drawing/2014/main" id="{B74D8647-FABE-46C8-B992-8C3DCFD10B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 eaLnBrk="0">
              <a:defRPr sz="800" spc="0"/>
            </a:lvl1pPr>
            <a:lvl2pPr>
              <a:spcBef>
                <a:spcPts val="300"/>
              </a:spcBef>
              <a:defRPr sz="800" spc="0"/>
            </a:lvl2pPr>
            <a:lvl3pPr>
              <a:spcBef>
                <a:spcPts val="300"/>
              </a:spcBef>
              <a:defRPr sz="800" spc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EEA165-D91F-4A2B-B8AC-8F482B529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943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 eaLnBrk="1">
              <a:spcBef>
                <a:spcPts val="300"/>
              </a:spcBef>
              <a:defRPr sz="800" b="0" spc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83DD5E-DC6A-4106-A995-2452B525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18779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F69EA7-7BB1-4A6E-93D3-8C54DCC72F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E7C6D2-AF03-4A4F-86F0-06C7094633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note">
            <a:extLst>
              <a:ext uri="{FF2B5EF4-FFF2-40B4-BE49-F238E27FC236}">
                <a16:creationId xmlns:a16="http://schemas.microsoft.com/office/drawing/2014/main" id="{8561DAA3-F8D2-4133-91F9-2B8B997A1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</p:spTree>
    <p:extLst>
      <p:ext uri="{BB962C8B-B14F-4D97-AF65-F5344CB8AC3E}">
        <p14:creationId xmlns:p14="http://schemas.microsoft.com/office/powerpoint/2010/main" val="28795913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lid_bg">
            <a:extLst>
              <a:ext uri="{FF2B5EF4-FFF2-40B4-BE49-F238E27FC236}">
                <a16:creationId xmlns:a16="http://schemas.microsoft.com/office/drawing/2014/main" id="{90655820-2BFF-4A20-AFF6-4117DBB79B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resenter Name">
            <a:extLst>
              <a:ext uri="{FF2B5EF4-FFF2-40B4-BE49-F238E27FC236}">
                <a16:creationId xmlns:a16="http://schemas.microsoft.com/office/drawing/2014/main" id="{5ACC0FCF-0877-41B8-9014-A349B57072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 eaLnBrk="1">
              <a:spcBef>
                <a:spcPts val="0"/>
              </a:spcBef>
              <a:defRPr sz="1200" b="0" spc="0">
                <a:latin typeface="+mj-lt"/>
              </a:defRPr>
            </a:lvl1pPr>
            <a:lvl2pPr marL="0" indent="0" eaLnBrk="1">
              <a:spcBef>
                <a:spcPts val="0"/>
              </a:spcBef>
              <a:buNone/>
              <a:defRPr sz="1200" spc="0"/>
            </a:lvl2pPr>
          </a:lstStyle>
          <a:p>
            <a:r>
              <a:rPr lang="en-GB" dirty="0"/>
              <a:t>Invesco department </a:t>
            </a:r>
          </a:p>
          <a:p>
            <a:pPr lvl="1"/>
            <a:r>
              <a:rPr lang="en-US" dirty="0"/>
              <a:t>Address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2B16FB8D-FC7A-4958-9D07-F793EB8215A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901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5209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lid_bg">
            <a:extLst>
              <a:ext uri="{FF2B5EF4-FFF2-40B4-BE49-F238E27FC236}">
                <a16:creationId xmlns:a16="http://schemas.microsoft.com/office/drawing/2014/main" id="{4275A85C-58AF-4F79-8291-5C1A826C19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035D60-14DC-42E6-A40C-399D0C48D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00" y="146988"/>
            <a:ext cx="8568929" cy="2424762"/>
          </a:xfrm>
        </p:spPr>
        <p:txBody>
          <a:bodyPr lIns="0" rIns="0" bIns="0"/>
          <a:lstStyle>
            <a:lvl1pPr>
              <a:defRPr sz="6675" b="0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2633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 - icon">
    <p:bg>
      <p:bgPr>
        <a:solidFill>
          <a:srgbClr val="5FF0FF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>
            <a:extLst>
              <a:ext uri="{FF2B5EF4-FFF2-40B4-BE49-F238E27FC236}">
                <a16:creationId xmlns:a16="http://schemas.microsoft.com/office/drawing/2014/main" id="{AC6B816B-CEAB-43FF-B144-7F260D0846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8131" y="288131"/>
            <a:ext cx="640080" cy="640080"/>
          </a:xfrm>
          <a:prstGeom prst="ellipse">
            <a:avLst/>
          </a:prstGeom>
          <a:solidFill>
            <a:srgbClr val="D5221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C6144-6F8D-4632-AFF6-21FC754E2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499" y="243000"/>
            <a:ext cx="5617369" cy="4282678"/>
          </a:xfrm>
        </p:spPr>
        <p:txBody>
          <a:bodyPr lIns="0" rIns="0" bIns="0"/>
          <a:lstStyle>
            <a:lvl1pPr eaLnBrk="1">
              <a:lnSpc>
                <a:spcPct val="100000"/>
              </a:lnSpc>
              <a:spcBef>
                <a:spcPts val="0"/>
              </a:spcBef>
              <a:defRPr sz="2100" b="0" spc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13"/>
              </a:spcBef>
              <a:buNone/>
              <a:defRPr sz="1400" b="0" spc="0">
                <a:solidFill>
                  <a:schemeClr val="tx2"/>
                </a:solidFill>
              </a:defRPr>
            </a:lvl2pPr>
            <a:lvl3pPr marL="152698" indent="-152698">
              <a:lnSpc>
                <a:spcPct val="100000"/>
              </a:lnSpc>
              <a:spcBef>
                <a:spcPts val="1013"/>
              </a:spcBef>
              <a:defRPr sz="1400" b="0" spc="0">
                <a:solidFill>
                  <a:schemeClr val="tx2"/>
                </a:solidFill>
              </a:defRPr>
            </a:lvl3pPr>
            <a:lvl4pPr marL="304503" indent="-151805"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4pPr>
            <a:lvl5pPr>
              <a:spcBef>
                <a:spcPts val="675"/>
              </a:spcBef>
              <a:defRPr sz="1013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resenter Name">
            <a:extLst>
              <a:ext uri="{FF2B5EF4-FFF2-40B4-BE49-F238E27FC236}">
                <a16:creationId xmlns:a16="http://schemas.microsoft.com/office/drawing/2014/main" id="{04FA2E17-4E7E-4AE0-B5A5-5C891F3A74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1" y="1062112"/>
            <a:ext cx="1474984" cy="648812"/>
          </a:xfrm>
        </p:spPr>
        <p:txBody>
          <a:bodyPr wrap="square" lIns="0" rIns="0" bIns="0" anchor="t" anchorCtr="0">
            <a:noAutofit/>
          </a:bodyPr>
          <a:lstStyle>
            <a:lvl1pPr eaLnBrk="0">
              <a:spcBef>
                <a:spcPts val="0"/>
              </a:spcBef>
              <a:defRPr sz="1000" b="0" spc="0" baseline="0">
                <a:solidFill>
                  <a:schemeClr val="tx2"/>
                </a:solidFill>
                <a:latin typeface="Graphik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000" b="0" spc="0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591">
                <a:solidFill>
                  <a:schemeClr val="tx1"/>
                </a:solidFill>
              </a:defRPr>
            </a:lvl3pPr>
          </a:lstStyle>
          <a:p>
            <a:r>
              <a:rPr lang="en-US" dirty="0"/>
              <a:t>Name Surname  </a:t>
            </a:r>
          </a:p>
          <a:p>
            <a:pPr lvl="1"/>
            <a:r>
              <a:rPr lang="en-GB" dirty="0"/>
              <a:t>Job title goes here </a:t>
            </a: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E5A92843-7936-44DA-B506-AB7A18149BC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8525" y="521790"/>
            <a:ext cx="241956" cy="180319"/>
          </a:xfrm>
          <a:custGeom>
            <a:avLst/>
            <a:gdLst>
              <a:gd name="T0" fmla="*/ 0 w 738"/>
              <a:gd name="T1" fmla="*/ 367 h 550"/>
              <a:gd name="T2" fmla="*/ 324 w 738"/>
              <a:gd name="T3" fmla="*/ 0 h 550"/>
              <a:gd name="T4" fmla="*/ 335 w 738"/>
              <a:gd name="T5" fmla="*/ 31 h 550"/>
              <a:gd name="T6" fmla="*/ 142 w 738"/>
              <a:gd name="T7" fmla="*/ 283 h 550"/>
              <a:gd name="T8" fmla="*/ 312 w 738"/>
              <a:gd name="T9" fmla="*/ 420 h 550"/>
              <a:gd name="T10" fmla="*/ 169 w 738"/>
              <a:gd name="T11" fmla="*/ 550 h 550"/>
              <a:gd name="T12" fmla="*/ 0 w 738"/>
              <a:gd name="T13" fmla="*/ 367 h 550"/>
              <a:gd name="T14" fmla="*/ 402 w 738"/>
              <a:gd name="T15" fmla="*/ 367 h 550"/>
              <a:gd name="T16" fmla="*/ 726 w 738"/>
              <a:gd name="T17" fmla="*/ 0 h 550"/>
              <a:gd name="T18" fmla="*/ 738 w 738"/>
              <a:gd name="T19" fmla="*/ 31 h 550"/>
              <a:gd name="T20" fmla="*/ 544 w 738"/>
              <a:gd name="T21" fmla="*/ 283 h 550"/>
              <a:gd name="T22" fmla="*/ 712 w 738"/>
              <a:gd name="T23" fmla="*/ 420 h 550"/>
              <a:gd name="T24" fmla="*/ 572 w 738"/>
              <a:gd name="T25" fmla="*/ 550 h 550"/>
              <a:gd name="T26" fmla="*/ 402 w 738"/>
              <a:gd name="T27" fmla="*/ 36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38" h="550">
                <a:moveTo>
                  <a:pt x="0" y="367"/>
                </a:moveTo>
                <a:cubicBezTo>
                  <a:pt x="0" y="213"/>
                  <a:pt x="125" y="68"/>
                  <a:pt x="324" y="0"/>
                </a:cubicBezTo>
                <a:cubicBezTo>
                  <a:pt x="335" y="31"/>
                  <a:pt x="335" y="31"/>
                  <a:pt x="335" y="31"/>
                </a:cubicBezTo>
                <a:cubicBezTo>
                  <a:pt x="203" y="90"/>
                  <a:pt x="144" y="185"/>
                  <a:pt x="142" y="283"/>
                </a:cubicBezTo>
                <a:cubicBezTo>
                  <a:pt x="255" y="298"/>
                  <a:pt x="312" y="345"/>
                  <a:pt x="312" y="420"/>
                </a:cubicBezTo>
                <a:cubicBezTo>
                  <a:pt x="312" y="496"/>
                  <a:pt x="250" y="550"/>
                  <a:pt x="169" y="550"/>
                </a:cubicBezTo>
                <a:cubicBezTo>
                  <a:pt x="68" y="550"/>
                  <a:pt x="0" y="468"/>
                  <a:pt x="0" y="367"/>
                </a:cubicBezTo>
                <a:close/>
                <a:moveTo>
                  <a:pt x="402" y="367"/>
                </a:moveTo>
                <a:cubicBezTo>
                  <a:pt x="402" y="213"/>
                  <a:pt x="527" y="68"/>
                  <a:pt x="726" y="0"/>
                </a:cubicBezTo>
                <a:cubicBezTo>
                  <a:pt x="738" y="31"/>
                  <a:pt x="738" y="31"/>
                  <a:pt x="738" y="31"/>
                </a:cubicBezTo>
                <a:cubicBezTo>
                  <a:pt x="605" y="90"/>
                  <a:pt x="546" y="185"/>
                  <a:pt x="544" y="283"/>
                </a:cubicBezTo>
                <a:cubicBezTo>
                  <a:pt x="656" y="298"/>
                  <a:pt x="712" y="345"/>
                  <a:pt x="712" y="420"/>
                </a:cubicBezTo>
                <a:cubicBezTo>
                  <a:pt x="712" y="496"/>
                  <a:pt x="652" y="550"/>
                  <a:pt x="572" y="550"/>
                </a:cubicBezTo>
                <a:cubicBezTo>
                  <a:pt x="468" y="550"/>
                  <a:pt x="402" y="468"/>
                  <a:pt x="402" y="3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</p:spTree>
    <p:extLst>
      <p:ext uri="{BB962C8B-B14F-4D97-AF65-F5344CB8AC3E}">
        <p14:creationId xmlns:p14="http://schemas.microsoft.com/office/powerpoint/2010/main" val="4058981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C0A7896-B08E-4A05-8D6A-2AD8F0A127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8500" y="0"/>
            <a:ext cx="5905500" cy="5143500"/>
          </a:xfrm>
        </p:spPr>
        <p:txBody>
          <a:bodyPr/>
          <a:lstStyle/>
          <a:p>
            <a:pPr marL="0" marR="0" lvl="0" indent="0" algn="l" defTabSz="171440" rtl="0" eaLnBrk="0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A739712-3A37-4796-AD90-4E44AB68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2663850" cy="3689634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271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C0A7896-B08E-4A05-8D6A-2AD8F0A127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052513"/>
            <a:ext cx="9144000" cy="4090988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FC74C-DBE2-4A90-853F-06AF87BC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8070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C92E29A5-4A67-4375-926E-C0F7CA20D5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90060" y="1905000"/>
            <a:ext cx="2666405" cy="2667000"/>
          </a:xfrm>
          <a:solidFill>
            <a:schemeClr val="bg1"/>
          </a:solidFill>
          <a:ln w="25400">
            <a:noFill/>
          </a:ln>
        </p:spPr>
        <p:txBody>
          <a:bodyPr lIns="189000" tIns="180000" rIns="0" bIns="0"/>
          <a:lstStyle>
            <a:lvl1pPr eaLnBrk="1">
              <a:spcAft>
                <a:spcPts val="675"/>
              </a:spcAft>
              <a:defRPr sz="3300" spc="0">
                <a:solidFill>
                  <a:schemeClr val="tx2"/>
                </a:solidFill>
                <a:latin typeface="+mn-lt"/>
              </a:defRPr>
            </a:lvl1pPr>
            <a:lvl2pPr>
              <a:defRPr sz="1200" spc="0">
                <a:solidFill>
                  <a:schemeClr val="tx2"/>
                </a:solidFill>
              </a:defRPr>
            </a:lvl2pPr>
            <a:lvl3pPr>
              <a:defRPr sz="1200" spc="0">
                <a:solidFill>
                  <a:schemeClr val="tx2"/>
                </a:solidFill>
              </a:defRPr>
            </a:lvl3pPr>
            <a:lvl4pPr>
              <a:defRPr sz="1200" spc="0">
                <a:solidFill>
                  <a:schemeClr val="tx2"/>
                </a:solidFill>
              </a:defRPr>
            </a:lvl4pPr>
            <a:lvl5pPr>
              <a:defRPr sz="120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err="1"/>
              <a:t>Big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021EF6E-D5E1-4ECF-8E04-FAC0B30D54F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26883" y="2073134"/>
            <a:ext cx="445500" cy="445500"/>
          </a:xfrm>
          <a:prstGeom prst="ellipse">
            <a:avLst/>
          </a:prstGeom>
          <a:solidFill>
            <a:srgbClr val="D52219"/>
          </a:solidFill>
        </p:spPr>
        <p:txBody>
          <a:bodyPr lIns="0" rIns="0" bIns="0" anchor="ctr" anchorCtr="0"/>
          <a:lstStyle>
            <a:lvl1pPr algn="ctr">
              <a:lnSpc>
                <a:spcPct val="100000"/>
              </a:lnSpc>
              <a:defRPr sz="525" b="0" spc="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1544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ue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C9EA5B-A488-4CAB-AEBE-CD42E5F74EB2}"/>
              </a:ext>
            </a:extLst>
          </p:cNvPr>
          <p:cNvSpPr>
            <a:spLocks/>
          </p:cNvSpPr>
          <p:nvPr/>
        </p:nvSpPr>
        <p:spPr>
          <a:xfrm>
            <a:off x="0" y="1052513"/>
            <a:ext cx="9144000" cy="4090988"/>
          </a:xfrm>
          <a:prstGeom prst="rect">
            <a:avLst/>
          </a:prstGeom>
          <a:solidFill>
            <a:srgbClr val="5FF0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US" sz="1013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A4F33B-2A5C-4874-B5D7-74DA77ECCD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FC74C-DBE2-4A90-853F-06AF87BCB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70739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g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BC34E09-2712-446E-A4CF-B7F335F5F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678656"/>
            <a:ext cx="8572673" cy="869317"/>
          </a:xfrm>
        </p:spPr>
        <p:txBody>
          <a:bodyPr lIns="0" rIns="0" bIns="0" anchor="b" anchorCtr="0"/>
          <a:lstStyle>
            <a:lvl1pPr>
              <a:defRPr sz="405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841B36CC-8A2B-48E0-9670-C904B44EDB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124182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050" spc="0"/>
            </a:lvl1pPr>
            <a:lvl2pPr marL="0" indent="0" algn="l">
              <a:spcBef>
                <a:spcPts val="1519"/>
              </a:spcBef>
              <a:buNone/>
              <a:defRPr sz="1050" spc="0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" name="Presenter Name">
            <a:extLst>
              <a:ext uri="{FF2B5EF4-FFF2-40B4-BE49-F238E27FC236}">
                <a16:creationId xmlns:a16="http://schemas.microsoft.com/office/drawing/2014/main" id="{90F75DFF-A23F-48B5-8A9E-5032051B75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5245" y="3362576"/>
            <a:ext cx="1191816" cy="1238890"/>
          </a:xfrm>
        </p:spPr>
        <p:txBody>
          <a:bodyPr wrap="square" lIns="0" rIns="0" bIns="0" anchor="b" anchorCtr="0">
            <a:noAutofit/>
          </a:bodyPr>
          <a:lstStyle>
            <a:lvl1pPr>
              <a:spcBef>
                <a:spcPts val="675"/>
              </a:spcBef>
              <a:defRPr sz="900" b="1" spc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900" spc="0"/>
            </a:lvl2pPr>
          </a:lstStyle>
          <a:p>
            <a:r>
              <a:rPr lang="en-US" dirty="0"/>
              <a:t>Presenter name 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C40D103-0BF3-4175-BF63-17D54EFA1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8900" y="3359645"/>
            <a:ext cx="4146946" cy="1241822"/>
          </a:xfrm>
        </p:spPr>
        <p:txBody>
          <a:bodyPr lIns="0" rIns="0" bIns="0" anchor="b" anchorCtr="0"/>
          <a:lstStyle>
            <a:lvl1pPr>
              <a:spcBef>
                <a:spcPts val="0"/>
              </a:spcBef>
              <a:defRPr sz="900" spc="0"/>
            </a:lvl1pPr>
            <a:lvl2pPr>
              <a:spcBef>
                <a:spcPts val="0"/>
              </a:spcBef>
              <a:defRPr sz="900" spc="0"/>
            </a:lvl2pPr>
            <a:lvl3pPr>
              <a:spcBef>
                <a:spcPts val="0"/>
              </a:spcBef>
              <a:defRPr sz="900" spc="0"/>
            </a:lvl3pPr>
            <a:lvl4pPr>
              <a:spcBef>
                <a:spcPts val="0"/>
              </a:spcBef>
              <a:defRPr sz="825" spc="0"/>
            </a:lvl4pPr>
            <a:lvl5pPr>
              <a:spcBef>
                <a:spcPts val="0"/>
              </a:spcBef>
              <a:defRPr sz="825" spc="0"/>
            </a:lvl5pPr>
          </a:lstStyle>
          <a:p>
            <a:pPr lvl="0"/>
            <a:r>
              <a:rPr lang="en-US" dirty="0"/>
              <a:t>Click to edit 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9426"/>
            <a:ext cx="856037" cy="205680"/>
          </a:xfrm>
          <a:prstGeom prst="rect">
            <a:avLst/>
          </a:prstGeom>
          <a:ln>
            <a:noFill/>
          </a:ln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1763116" y="4843422"/>
            <a:ext cx="3240000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75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Optional footer</a:t>
            </a:r>
          </a:p>
        </p:txBody>
      </p:sp>
    </p:spTree>
    <p:extLst>
      <p:ext uri="{BB962C8B-B14F-4D97-AF65-F5344CB8AC3E}">
        <p14:creationId xmlns:p14="http://schemas.microsoft.com/office/powerpoint/2010/main" val="12643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">
            <a:extLst>
              <a:ext uri="{FF2B5EF4-FFF2-40B4-BE49-F238E27FC236}">
                <a16:creationId xmlns:a16="http://schemas.microsoft.com/office/drawing/2014/main" id="{939086E3-36CE-4A33-9158-48A79B3E0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108850"/>
            <a:ext cx="8569699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FB62ED37-840D-4A4C-9CBA-79B7B6443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8900" y="1052512"/>
            <a:ext cx="8562975" cy="2879726"/>
          </a:xfrm>
        </p:spPr>
        <p:txBody>
          <a:bodyPr l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1D5B8C-33AF-4B0B-BD36-14759E1A6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5866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quote">
    <p:bg>
      <p:bgPr>
        <a:solidFill>
          <a:srgbClr val="E7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2C6144-6F8D-4632-AFF6-21FC754E2D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8900" y="238683"/>
            <a:ext cx="5616179" cy="4282678"/>
          </a:xfrm>
        </p:spPr>
        <p:txBody>
          <a:bodyPr lIns="0" rIns="0" bIns="0"/>
          <a:lstStyle>
            <a:lvl1pPr>
              <a:spcBef>
                <a:spcPts val="0"/>
              </a:spcBef>
              <a:defRPr sz="1500" b="1" spc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500" b="0" spc="0">
                <a:solidFill>
                  <a:schemeClr val="tx2"/>
                </a:solidFill>
              </a:defRPr>
            </a:lvl2pPr>
            <a:lvl3pPr marL="152698" indent="-152698"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3pPr>
            <a:lvl4pPr marL="304503" indent="-151805"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500" b="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0615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peakers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20" name="Content Placeholder 1"/>
          <p:cNvSpPr>
            <a:spLocks noGrp="1"/>
          </p:cNvSpPr>
          <p:nvPr>
            <p:ph idx="13"/>
          </p:nvPr>
        </p:nvSpPr>
        <p:spPr>
          <a:xfrm>
            <a:off x="288131" y="1052512"/>
            <a:ext cx="8568929" cy="2879725"/>
          </a:xfrm>
        </p:spPr>
        <p:txBody>
          <a:bodyPr lIns="0" rIns="0" bIns="0">
            <a:normAutofit/>
          </a:bodyPr>
          <a:lstStyle>
            <a:lvl1pPr>
              <a:defRPr sz="900" spc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1D5B8C-33AF-4B0B-BD36-14759E1A6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1450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rgbClr val="E7F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>
            <a:lvl1pPr>
              <a:defRPr sz="900" spc="0">
                <a:solidFill>
                  <a:schemeClr val="tx2"/>
                </a:solidFill>
              </a:defRPr>
            </a:lvl1pPr>
            <a:lvl2pPr>
              <a:defRPr sz="900" spc="0">
                <a:solidFill>
                  <a:schemeClr val="tx2"/>
                </a:solidFill>
              </a:defRPr>
            </a:lvl2pPr>
            <a:lvl3pPr>
              <a:defRPr sz="900" spc="0">
                <a:solidFill>
                  <a:schemeClr val="tx2"/>
                </a:solidFill>
              </a:defRPr>
            </a:lvl3pPr>
            <a:lvl4pPr>
              <a:defRPr sz="825" spc="0">
                <a:solidFill>
                  <a:schemeClr val="tx2"/>
                </a:solidFill>
              </a:defRPr>
            </a:lvl4pPr>
            <a:lvl5pPr>
              <a:defRPr sz="825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 (12-16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5C8F24-AC82-4333-B4BD-2A3DDD043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111C-4837-4BBB-BB42-B6207393D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>
                <a:solidFill>
                  <a:schemeClr val="tx2"/>
                </a:solidFill>
              </a:defRPr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D0A6AB36-1DA3-400D-A82C-092400FA9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89322"/>
            <a:ext cx="8572673" cy="1084463"/>
          </a:xfrm>
        </p:spPr>
        <p:txBody>
          <a:bodyPr lIns="0" rIns="0" bIns="0" anchor="b" anchorCtr="0"/>
          <a:lstStyle>
            <a:lvl1pPr>
              <a:defRPr sz="2700" spc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B12546D-6930-49D1-B531-9C8225D1F0E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8900" y="1388668"/>
            <a:ext cx="8568929" cy="1183081"/>
          </a:xfrm>
        </p:spPr>
        <p:txBody>
          <a:bodyPr lIns="0" rIns="0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00" spc="0">
                <a:solidFill>
                  <a:schemeClr val="tx2"/>
                </a:solidFill>
              </a:defRPr>
            </a:lvl1pPr>
            <a:lvl2pPr marL="0" indent="0" algn="l">
              <a:spcBef>
                <a:spcPts val="1519"/>
              </a:spcBef>
              <a:buNone/>
              <a:defRPr sz="788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1555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note Placeholder">
            <a:extLst>
              <a:ext uri="{FF2B5EF4-FFF2-40B4-BE49-F238E27FC236}">
                <a16:creationId xmlns:a16="http://schemas.microsoft.com/office/drawing/2014/main" id="{7FB8256A-244B-47BF-829F-0B0B2E37C3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DCB2A6-0D58-4044-A740-A77E684F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88484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 Placeholder">
            <a:extLst>
              <a:ext uri="{FF2B5EF4-FFF2-40B4-BE49-F238E27FC236}">
                <a16:creationId xmlns:a16="http://schemas.microsoft.com/office/drawing/2014/main" id="{DCC4EEF4-31AD-4EF2-A771-A713E7FA69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8568929" cy="2880122"/>
          </a:xfrm>
        </p:spPr>
        <p:txBody>
          <a:bodyPr lIns="0" t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4-1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9D3134-D587-45C7-8B3F-A140F7242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4626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note Placeholder">
            <a:extLst>
              <a:ext uri="{FF2B5EF4-FFF2-40B4-BE49-F238E27FC236}">
                <a16:creationId xmlns:a16="http://schemas.microsoft.com/office/drawing/2014/main" id="{62E622BD-67AB-42E6-870B-A876B70201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8568929" cy="2880122"/>
          </a:xfrm>
        </p:spPr>
        <p:txBody>
          <a:bodyPr lIns="0" t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4-1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F8EF88-0375-4391-84A6-959704E8C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4655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note Placeholder">
            <a:extLst>
              <a:ext uri="{FF2B5EF4-FFF2-40B4-BE49-F238E27FC236}">
                <a16:creationId xmlns:a16="http://schemas.microsoft.com/office/drawing/2014/main" id="{B275FEBA-50EF-4130-900A-D0D59D14A09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131" y="1052513"/>
            <a:ext cx="4140994" cy="2880122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13685" y="1052513"/>
            <a:ext cx="4140994" cy="2880122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</a:p>
          <a:p>
            <a:pPr marL="137153" lvl="1" indent="-137153" algn="l" defTabSz="171440" rtl="0" eaLnBrk="1" latinLnBrk="0" hangingPunct="1">
              <a:spcBef>
                <a:spcPts val="45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9E4967-9E55-47B4-8FE9-2C6D92E83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628234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 Placeholder">
            <a:extLst>
              <a:ext uri="{FF2B5EF4-FFF2-40B4-BE49-F238E27FC236}">
                <a16:creationId xmlns:a16="http://schemas.microsoft.com/office/drawing/2014/main" id="{EA455980-7E48-4BE6-B80A-133ABD398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23D2F14C-54EF-44A9-89C1-E3557B35BE1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8131" y="1273629"/>
            <a:ext cx="4140994" cy="2658609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DDCF888-15FC-4366-9DAC-89481925FF7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13685" y="1273629"/>
            <a:ext cx="4140994" cy="2658609"/>
          </a:xfrm>
        </p:spPr>
        <p:txBody>
          <a:bodyPr lIns="0" rIns="0" bIns="0" numCol="1">
            <a:noAutofit/>
          </a:bodyPr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lick to edit Master text styles (12-16pt)</a:t>
            </a:r>
          </a:p>
          <a:p>
            <a:pPr marL="137153" lvl="1" indent="-137153" algn="l" defTabSz="171440" rtl="0" eaLnBrk="1" latinLnBrk="0" hangingPunct="1">
              <a:spcBef>
                <a:spcPts val="450"/>
              </a:spcBef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Content Title Placeholder 1">
            <a:extLst>
              <a:ext uri="{FF2B5EF4-FFF2-40B4-BE49-F238E27FC236}">
                <a16:creationId xmlns:a16="http://schemas.microsoft.com/office/drawing/2014/main" id="{707B5C06-9A8A-4460-9692-69AB6AB063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6940" y="829945"/>
            <a:ext cx="4140993" cy="380702"/>
          </a:xfrm>
        </p:spPr>
        <p:txBody>
          <a:bodyPr lIns="0" rIns="0" bIns="0" anchor="b"/>
          <a:lstStyle>
            <a:lvl1pPr marL="0" indent="0">
              <a:buNone/>
              <a:defRPr sz="12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Title Placeholder 2">
            <a:extLst>
              <a:ext uri="{FF2B5EF4-FFF2-40B4-BE49-F238E27FC236}">
                <a16:creationId xmlns:a16="http://schemas.microsoft.com/office/drawing/2014/main" id="{3563387D-87B5-4FFA-9A28-463D0B0C0C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13685" y="829945"/>
            <a:ext cx="4140993" cy="380702"/>
          </a:xfrm>
        </p:spPr>
        <p:txBody>
          <a:bodyPr lIns="0" rIns="0" bIns="0" anchor="b"/>
          <a:lstStyle>
            <a:lvl1pPr marL="0" indent="0">
              <a:buNone/>
              <a:defRPr sz="1200" b="0" spc="0">
                <a:solidFill>
                  <a:schemeClr val="tx2"/>
                </a:solidFill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52C11F0-554C-4199-A9DC-2E8EBA2E9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EF2A8EA-D72F-466F-BB78-6A7D82E03B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F55E628-B412-4C72-8B76-B8DA6A7F5E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0229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 Placeholder">
            <a:extLst>
              <a:ext uri="{FF2B5EF4-FFF2-40B4-BE49-F238E27FC236}">
                <a16:creationId xmlns:a16="http://schemas.microsoft.com/office/drawing/2014/main" id="{1FC342C5-976E-4AB7-ACF2-8C0763DBDF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8" name="Table Placeholder 1"/>
          <p:cNvSpPr>
            <a:spLocks noGrp="1"/>
          </p:cNvSpPr>
          <p:nvPr>
            <p:ph type="tbl" sz="quarter" idx="13" hasCustomPrompt="1"/>
          </p:nvPr>
        </p:nvSpPr>
        <p:spPr>
          <a:xfrm>
            <a:off x="288130" y="1052513"/>
            <a:ext cx="8568929" cy="2880122"/>
          </a:xfrm>
        </p:spPr>
        <p:txBody>
          <a:bodyPr lIns="0" rIns="0" bIns="0"/>
          <a:lstStyle>
            <a:lvl1pPr>
              <a:defRPr sz="900" spc="0"/>
            </a:lvl1pPr>
          </a:lstStyle>
          <a:p>
            <a:r>
              <a:rPr lang="en-US" dirty="0"/>
              <a:t>Click box to paste in table from Exc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B238C-28EB-449A-9B50-BBD778FDFD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33C6C2-E823-48AC-B2F8-02BD7FE6F5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C2B11C-096E-4473-971C-D593F2B76D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 b="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880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note Placeholder">
            <a:extLst>
              <a:ext uri="{FF2B5EF4-FFF2-40B4-BE49-F238E27FC236}">
                <a16:creationId xmlns:a16="http://schemas.microsoft.com/office/drawing/2014/main" id="{D3701F34-659C-457C-BAFE-06FE56F98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7209"/>
            <a:ext cx="8567738" cy="2878542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0" y="1055700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top_border">
            <a:extLst>
              <a:ext uri="{FF2B5EF4-FFF2-40B4-BE49-F238E27FC236}">
                <a16:creationId xmlns:a16="http://schemas.microsoft.com/office/drawing/2014/main" id="{D38199F1-C2F8-45A5-A18E-FE013F96B37B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8CAABFA-D034-4216-BF6C-EB331CD90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1703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olid_bg">
            <a:extLst>
              <a:ext uri="{FF2B5EF4-FFF2-40B4-BE49-F238E27FC236}">
                <a16:creationId xmlns:a16="http://schemas.microsoft.com/office/drawing/2014/main" id="{C9CA4CC4-7458-4D3F-A69F-7A467527DD7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D656F-F57E-4415-8FB8-D8673B28A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318E98-5A09-48FB-BD3E-B03716A59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25BCF0C-5CFE-4C24-B5D7-FD45352898D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2663850" cy="1241821"/>
          </a:xfrm>
        </p:spPr>
        <p:txBody>
          <a:bodyPr lIns="0" rIns="0" bIns="0"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None/>
              <a:defRPr sz="1400" spc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1519"/>
              </a:spcBef>
              <a:buNone/>
              <a:defRPr sz="788">
                <a:solidFill>
                  <a:schemeClr val="tx2"/>
                </a:solidFill>
              </a:defRPr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88B184B-25A8-4377-A5E2-EAC09991A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4283100" cy="571499"/>
          </a:xfrm>
        </p:spPr>
        <p:txBody>
          <a:bodyPr lIns="0" rIns="0" b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BE1ED590-C7D6-446C-AD5F-2CB12A88D7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900" y="2571751"/>
            <a:ext cx="3335337" cy="2000250"/>
          </a:xfrm>
        </p:spPr>
        <p:txBody>
          <a:bodyPr l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7260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>
            <a:extLst>
              <a:ext uri="{FF2B5EF4-FFF2-40B4-BE49-F238E27FC236}">
                <a16:creationId xmlns:a16="http://schemas.microsoft.com/office/drawing/2014/main" id="{C1A88E11-639B-459D-B61A-475589B776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0" y="1058400"/>
            <a:ext cx="4142184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Title Placeholder 1">
            <a:extLst>
              <a:ext uri="{FF2B5EF4-FFF2-40B4-BE49-F238E27FC236}">
                <a16:creationId xmlns:a16="http://schemas.microsoft.com/office/drawing/2014/main" id="{AD046E5F-1121-46A2-ADF7-F44BEE1241B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4142184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713684" y="1058400"/>
            <a:ext cx="4142184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Title Placeholder 2">
            <a:extLst>
              <a:ext uri="{FF2B5EF4-FFF2-40B4-BE49-F238E27FC236}">
                <a16:creationId xmlns:a16="http://schemas.microsoft.com/office/drawing/2014/main" id="{820AAF61-E5B5-4C8E-A385-E9C6FC2856CA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713684" y="1055700"/>
            <a:ext cx="4142184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9DD16-4FE0-479A-8224-59F9CABE7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4713684" y="1052513"/>
            <a:ext cx="4142184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9187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note Placeholder">
            <a:extLst>
              <a:ext uri="{FF2B5EF4-FFF2-40B4-BE49-F238E27FC236}">
                <a16:creationId xmlns:a16="http://schemas.microsoft.com/office/drawing/2014/main" id="{BB288589-01D2-41CB-B1B9-DE38DE40B3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8131" y="1058400"/>
            <a:ext cx="8567100" cy="13462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Title Placeholder 1">
            <a:extLst>
              <a:ext uri="{FF2B5EF4-FFF2-40B4-BE49-F238E27FC236}">
                <a16:creationId xmlns:a16="http://schemas.microsoft.com/office/drawing/2014/main" id="{D7261883-4366-4305-9D12-162436C5235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88130" y="1055700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BFE9E14-4604-4701-83B9-AA40A0EDD4B5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288131" y="2574766"/>
            <a:ext cx="8567100" cy="13462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Title Placeholder 2">
            <a:extLst>
              <a:ext uri="{FF2B5EF4-FFF2-40B4-BE49-F238E27FC236}">
                <a16:creationId xmlns:a16="http://schemas.microsoft.com/office/drawing/2014/main" id="{F46C0869-1874-44A1-BECA-8B29CB941928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288130" y="2576387"/>
            <a:ext cx="8567737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4ADA90-AEB5-495A-A82C-A8027A598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0DC4ABBF-698D-4B74-8ABF-E2FEEED6A780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_border">
            <a:extLst>
              <a:ext uri="{FF2B5EF4-FFF2-40B4-BE49-F238E27FC236}">
                <a16:creationId xmlns:a16="http://schemas.microsoft.com/office/drawing/2014/main" id="{3A109750-BE33-4E51-9DB4-AE929906A1E9}"/>
              </a:ext>
            </a:extLst>
          </p:cNvPr>
          <p:cNvCxnSpPr>
            <a:cxnSpLocks/>
          </p:cNvCxnSpPr>
          <p:nvPr/>
        </p:nvCxnSpPr>
        <p:spPr>
          <a:xfrm>
            <a:off x="288131" y="2567841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2527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arg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note Placeholder">
            <a:extLst>
              <a:ext uri="{FF2B5EF4-FFF2-40B4-BE49-F238E27FC236}">
                <a16:creationId xmlns:a16="http://schemas.microsoft.com/office/drawing/2014/main" id="{EBE022E6-2286-4599-86E2-21BAC3F769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0" y="1058400"/>
            <a:ext cx="6126480" cy="2882900"/>
          </a:xfrm>
          <a:solidFill>
            <a:schemeClr val="bg2"/>
          </a:solidFill>
        </p:spPr>
        <p:txBody>
          <a:bodyPr lIns="0" rIns="0" bIns="0" anchor="ctr" anchorCtr="0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Title Placeholder 1">
            <a:extLst>
              <a:ext uri="{FF2B5EF4-FFF2-40B4-BE49-F238E27FC236}">
                <a16:creationId xmlns:a16="http://schemas.microsoft.com/office/drawing/2014/main" id="{5A8174C7-DBFA-45AC-B2FA-382CE3BAC2C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61264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746032" y="1045164"/>
            <a:ext cx="2109837" cy="2881313"/>
          </a:xfrm>
        </p:spPr>
        <p:txBody>
          <a:bodyPr lIns="0" rIns="0" bIns="0"/>
          <a:lstStyle>
            <a:lvl1pPr>
              <a:defRPr sz="3200" b="1" spc="0">
                <a:latin typeface="+mj-lt"/>
              </a:defRPr>
            </a:lvl1pPr>
            <a:lvl2pPr>
              <a:defRPr sz="900" spc="0"/>
            </a:lvl2pPr>
            <a:lvl3pPr>
              <a:defRPr sz="900" spc="0"/>
            </a:lvl3pPr>
            <a:lvl4pPr>
              <a:defRPr sz="825" spc="0"/>
            </a:lvl4pPr>
            <a:lvl5pPr>
              <a:defRPr sz="825" spc="0"/>
            </a:lvl5pPr>
          </a:lstStyle>
          <a:p>
            <a:pPr lvl="0"/>
            <a:r>
              <a:rPr lang="en-US" dirty="0"/>
              <a:t>Callou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D79336-5C15-48A9-AC00-517461969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top_border">
            <a:extLst>
              <a:ext uri="{FF2B5EF4-FFF2-40B4-BE49-F238E27FC236}">
                <a16:creationId xmlns:a16="http://schemas.microsoft.com/office/drawing/2014/main" id="{99CBF877-6CA0-4637-B69A-A0A8F677A5BF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612648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3638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note Placeholder">
            <a:extLst>
              <a:ext uri="{FF2B5EF4-FFF2-40B4-BE49-F238E27FC236}">
                <a16:creationId xmlns:a16="http://schemas.microsoft.com/office/drawing/2014/main" id="{C1A88E11-639B-459D-B61A-475589B776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89334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Title Placeholder 1">
            <a:extLst>
              <a:ext uri="{FF2B5EF4-FFF2-40B4-BE49-F238E27FC236}">
                <a16:creationId xmlns:a16="http://schemas.microsoft.com/office/drawing/2014/main" id="{AD046E5F-1121-46A2-ADF7-F44BEE1241B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8"/>
          </p:nvPr>
        </p:nvSpPr>
        <p:spPr>
          <a:xfrm>
            <a:off x="3240900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Title Placeholder 2">
            <a:extLst>
              <a:ext uri="{FF2B5EF4-FFF2-40B4-BE49-F238E27FC236}">
                <a16:creationId xmlns:a16="http://schemas.microsoft.com/office/drawing/2014/main" id="{820AAF61-E5B5-4C8E-A385-E9C6FC2856CA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240900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AE09141-54C7-4882-BAD2-6DF01D24BB6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94860" y="1058400"/>
            <a:ext cx="2662200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Title Placeholder 3">
            <a:extLst>
              <a:ext uri="{FF2B5EF4-FFF2-40B4-BE49-F238E27FC236}">
                <a16:creationId xmlns:a16="http://schemas.microsoft.com/office/drawing/2014/main" id="{9BB7A91E-0885-44B9-9C61-9CA9B869FA6F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194860" y="1055700"/>
            <a:ext cx="266462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9DD16-4FE0-479A-8224-59F9CABE7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8" name="top_border">
            <a:extLst>
              <a:ext uri="{FF2B5EF4-FFF2-40B4-BE49-F238E27FC236}">
                <a16:creationId xmlns:a16="http://schemas.microsoft.com/office/drawing/2014/main" id="{B92CC37C-FF7B-4DB2-A94F-E4B696016185}"/>
              </a:ext>
            </a:extLst>
          </p:cNvPr>
          <p:cNvCxnSpPr>
            <a:cxnSpLocks/>
          </p:cNvCxnSpPr>
          <p:nvPr/>
        </p:nvCxnSpPr>
        <p:spPr>
          <a:xfrm>
            <a:off x="286914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top_border">
            <a:extLst>
              <a:ext uri="{FF2B5EF4-FFF2-40B4-BE49-F238E27FC236}">
                <a16:creationId xmlns:a16="http://schemas.microsoft.com/office/drawing/2014/main" id="{C97A4DFF-FC69-4FAF-906A-5F8F01297BBE}"/>
              </a:ext>
            </a:extLst>
          </p:cNvPr>
          <p:cNvCxnSpPr>
            <a:cxnSpLocks/>
          </p:cNvCxnSpPr>
          <p:nvPr/>
        </p:nvCxnSpPr>
        <p:spPr>
          <a:xfrm>
            <a:off x="324090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_border">
            <a:extLst>
              <a:ext uri="{FF2B5EF4-FFF2-40B4-BE49-F238E27FC236}">
                <a16:creationId xmlns:a16="http://schemas.microsoft.com/office/drawing/2014/main" id="{25CE72D0-0EF7-4C49-B747-A4EB6E2F6F47}"/>
              </a:ext>
            </a:extLst>
          </p:cNvPr>
          <p:cNvCxnSpPr>
            <a:cxnSpLocks/>
          </p:cNvCxnSpPr>
          <p:nvPr/>
        </p:nvCxnSpPr>
        <p:spPr>
          <a:xfrm>
            <a:off x="6194860" y="1052513"/>
            <a:ext cx="266462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42988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note Placeholder">
            <a:extLst>
              <a:ext uri="{FF2B5EF4-FFF2-40B4-BE49-F238E27FC236}">
                <a16:creationId xmlns:a16="http://schemas.microsoft.com/office/drawing/2014/main" id="{C338DAC6-276C-45CF-9A57-90AD3FE0D3B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"/>
          <p:cNvSpPr>
            <a:spLocks noGrp="1"/>
          </p:cNvSpPr>
          <p:nvPr>
            <p:ph idx="13"/>
          </p:nvPr>
        </p:nvSpPr>
        <p:spPr>
          <a:xfrm>
            <a:off x="291306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Title Placeholder 1">
            <a:extLst>
              <a:ext uri="{FF2B5EF4-FFF2-40B4-BE49-F238E27FC236}">
                <a16:creationId xmlns:a16="http://schemas.microsoft.com/office/drawing/2014/main" id="{571F81EC-4257-4A74-8E4D-EEC7CB112FF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8"/>
          </p:nvPr>
        </p:nvSpPr>
        <p:spPr>
          <a:xfrm>
            <a:off x="2473845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Title Placeholder 2">
            <a:extLst>
              <a:ext uri="{FF2B5EF4-FFF2-40B4-BE49-F238E27FC236}">
                <a16:creationId xmlns:a16="http://schemas.microsoft.com/office/drawing/2014/main" id="{0DA0E9B0-4794-4C4C-80B9-5395DC016592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2473845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idx="20"/>
          </p:nvPr>
        </p:nvSpPr>
        <p:spPr>
          <a:xfrm>
            <a:off x="4656384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Title Placeholder 3">
            <a:extLst>
              <a:ext uri="{FF2B5EF4-FFF2-40B4-BE49-F238E27FC236}">
                <a16:creationId xmlns:a16="http://schemas.microsoft.com/office/drawing/2014/main" id="{2895C824-98C4-4C4A-AE9E-0D8319946A9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656384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idx="31"/>
          </p:nvPr>
        </p:nvSpPr>
        <p:spPr>
          <a:xfrm>
            <a:off x="6838924" y="1058400"/>
            <a:ext cx="2011628" cy="2882900"/>
          </a:xfrm>
          <a:solidFill>
            <a:schemeClr val="bg2"/>
          </a:solidFill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Title Placeholder 4">
            <a:extLst>
              <a:ext uri="{FF2B5EF4-FFF2-40B4-BE49-F238E27FC236}">
                <a16:creationId xmlns:a16="http://schemas.microsoft.com/office/drawing/2014/main" id="{81F7E911-E076-414B-BE3D-0CD51E61A017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6838924" y="1055700"/>
            <a:ext cx="2014803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90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2pt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BFADA-2E17-43A8-B6B2-31B80ADF3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6" name="top_border">
            <a:extLst>
              <a:ext uri="{FF2B5EF4-FFF2-40B4-BE49-F238E27FC236}">
                <a16:creationId xmlns:a16="http://schemas.microsoft.com/office/drawing/2014/main" id="{EE60BCBE-FC5D-4394-8F4A-88CF4A4B6575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top_border">
            <a:extLst>
              <a:ext uri="{FF2B5EF4-FFF2-40B4-BE49-F238E27FC236}">
                <a16:creationId xmlns:a16="http://schemas.microsoft.com/office/drawing/2014/main" id="{494690CD-B0F2-48F4-AD1E-680D9F9AF618}"/>
              </a:ext>
            </a:extLst>
          </p:cNvPr>
          <p:cNvCxnSpPr>
            <a:cxnSpLocks/>
          </p:cNvCxnSpPr>
          <p:nvPr/>
        </p:nvCxnSpPr>
        <p:spPr>
          <a:xfrm>
            <a:off x="2473845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top_border">
            <a:extLst>
              <a:ext uri="{FF2B5EF4-FFF2-40B4-BE49-F238E27FC236}">
                <a16:creationId xmlns:a16="http://schemas.microsoft.com/office/drawing/2014/main" id="{F20FD8F4-0B33-4D15-84FD-7F39369504F6}"/>
              </a:ext>
            </a:extLst>
          </p:cNvPr>
          <p:cNvCxnSpPr>
            <a:cxnSpLocks/>
          </p:cNvCxnSpPr>
          <p:nvPr/>
        </p:nvCxnSpPr>
        <p:spPr>
          <a:xfrm>
            <a:off x="465638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top_border">
            <a:extLst>
              <a:ext uri="{FF2B5EF4-FFF2-40B4-BE49-F238E27FC236}">
                <a16:creationId xmlns:a16="http://schemas.microsoft.com/office/drawing/2014/main" id="{11E189EF-2260-4D96-82F1-2CE91956FB29}"/>
              </a:ext>
            </a:extLst>
          </p:cNvPr>
          <p:cNvCxnSpPr>
            <a:cxnSpLocks/>
          </p:cNvCxnSpPr>
          <p:nvPr/>
        </p:nvCxnSpPr>
        <p:spPr>
          <a:xfrm>
            <a:off x="6838924" y="1052513"/>
            <a:ext cx="2014803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2078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6 singl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note Placeholder">
            <a:extLst>
              <a:ext uri="{FF2B5EF4-FFF2-40B4-BE49-F238E27FC236}">
                <a16:creationId xmlns:a16="http://schemas.microsoft.com/office/drawing/2014/main" id="{3DF2E25A-936C-4B8F-82D6-AE108CE8E69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22" name="Rectangle 21"/>
          <p:cNvSpPr>
            <a:spLocks/>
          </p:cNvSpPr>
          <p:nvPr/>
        </p:nvSpPr>
        <p:spPr>
          <a:xfrm>
            <a:off x="288131" y="1058400"/>
            <a:ext cx="8559671" cy="32416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Title Placeholder 1"/>
          <p:cNvSpPr>
            <a:spLocks noGrp="1"/>
          </p:cNvSpPr>
          <p:nvPr>
            <p:ph type="body" idx="17" hasCustomPrompt="1"/>
          </p:nvPr>
        </p:nvSpPr>
        <p:spPr>
          <a:xfrm>
            <a:off x="288131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2470795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Content Title Placeholder 2"/>
          <p:cNvSpPr>
            <a:spLocks noGrp="1"/>
          </p:cNvSpPr>
          <p:nvPr>
            <p:ph type="body" idx="36" hasCustomPrompt="1"/>
          </p:nvPr>
        </p:nvSpPr>
        <p:spPr>
          <a:xfrm>
            <a:off x="2470795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0"/>
          </p:nvPr>
        </p:nvSpPr>
        <p:spPr>
          <a:xfrm>
            <a:off x="4653460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3"/>
          <p:cNvSpPr>
            <a:spLocks noGrp="1"/>
          </p:cNvSpPr>
          <p:nvPr>
            <p:ph type="body" idx="37" hasCustomPrompt="1"/>
          </p:nvPr>
        </p:nvSpPr>
        <p:spPr>
          <a:xfrm>
            <a:off x="4653460" y="1055700"/>
            <a:ext cx="2011680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9DED915A-F4A2-468F-A224-9D9F79397D9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836124" y="1258279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Title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6836124" y="1055700"/>
            <a:ext cx="2011680" cy="182880"/>
          </a:xfrm>
        </p:spPr>
        <p:txBody>
          <a:bodyPr lIns="0" rIns="0" bIns="0"/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 (10pt)</a:t>
            </a:r>
          </a:p>
        </p:txBody>
      </p:sp>
      <p:sp>
        <p:nvSpPr>
          <p:cNvPr id="26" name="Content Placeholder 5"/>
          <p:cNvSpPr>
            <a:spLocks noGrp="1"/>
          </p:cNvSpPr>
          <p:nvPr>
            <p:ph sz="quarter" idx="25"/>
          </p:nvPr>
        </p:nvSpPr>
        <p:spPr>
          <a:xfrm>
            <a:off x="288131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26"/>
          </p:nvPr>
        </p:nvSpPr>
        <p:spPr>
          <a:xfrm>
            <a:off x="2470795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7"/>
          <p:cNvSpPr>
            <a:spLocks noGrp="1"/>
          </p:cNvSpPr>
          <p:nvPr>
            <p:ph sz="quarter" idx="27"/>
          </p:nvPr>
        </p:nvSpPr>
        <p:spPr>
          <a:xfrm>
            <a:off x="4653460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D6773A96-7DD8-44D1-BDFB-C46002148B6F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836124" y="2822786"/>
            <a:ext cx="2011680" cy="1440180"/>
          </a:xfrm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0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1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DE241C-6E45-4B71-A681-4E6270783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0" name="top_border">
            <a:extLst>
              <a:ext uri="{FF2B5EF4-FFF2-40B4-BE49-F238E27FC236}">
                <a16:creationId xmlns:a16="http://schemas.microsoft.com/office/drawing/2014/main" id="{36CF564B-B5B0-4440-96C7-A82AC49AE54C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8568929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8048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 Placeholder">
            <a:extLst>
              <a:ext uri="{FF2B5EF4-FFF2-40B4-BE49-F238E27FC236}">
                <a16:creationId xmlns:a16="http://schemas.microsoft.com/office/drawing/2014/main" id="{3689C78C-B8C6-479E-986E-75B3CD15C66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288131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2208649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4125857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6034887" y="1052513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288131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2208649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4125857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6034887" y="2567036"/>
            <a:ext cx="16256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bIns="34290" rtlCol="0" anchor="ctr"/>
          <a:lstStyle/>
          <a:p>
            <a:pPr algn="ctr"/>
            <a:endParaRPr lang="en-GB" sz="135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3"/>
          </p:nvPr>
        </p:nvSpPr>
        <p:spPr>
          <a:xfrm>
            <a:off x="288131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Title Placeholder 1"/>
          <p:cNvSpPr>
            <a:spLocks noGrp="1"/>
          </p:cNvSpPr>
          <p:nvPr>
            <p:ph type="body" idx="17"/>
          </p:nvPr>
        </p:nvSpPr>
        <p:spPr>
          <a:xfrm>
            <a:off x="288131" y="1055700"/>
            <a:ext cx="1634288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51"/>
          </p:nvPr>
        </p:nvSpPr>
        <p:spPr>
          <a:xfrm>
            <a:off x="2208649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Title Placeholder 2"/>
          <p:cNvSpPr>
            <a:spLocks noGrp="1"/>
          </p:cNvSpPr>
          <p:nvPr>
            <p:ph type="body" idx="52"/>
          </p:nvPr>
        </p:nvSpPr>
        <p:spPr>
          <a:xfrm>
            <a:off x="2211451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53"/>
          </p:nvPr>
        </p:nvSpPr>
        <p:spPr>
          <a:xfrm>
            <a:off x="4125857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Title Placeholder 3"/>
          <p:cNvSpPr>
            <a:spLocks noGrp="1"/>
          </p:cNvSpPr>
          <p:nvPr>
            <p:ph type="body" idx="54"/>
          </p:nvPr>
        </p:nvSpPr>
        <p:spPr>
          <a:xfrm>
            <a:off x="4128658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55"/>
          </p:nvPr>
        </p:nvSpPr>
        <p:spPr>
          <a:xfrm>
            <a:off x="6034887" y="1058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Title Placeholder 4"/>
          <p:cNvSpPr>
            <a:spLocks noGrp="1"/>
          </p:cNvSpPr>
          <p:nvPr>
            <p:ph type="body" idx="56"/>
          </p:nvPr>
        </p:nvSpPr>
        <p:spPr>
          <a:xfrm>
            <a:off x="6040489" y="1055700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5"/>
          <p:cNvSpPr>
            <a:spLocks noGrp="1"/>
          </p:cNvSpPr>
          <p:nvPr>
            <p:ph sz="quarter" idx="57"/>
          </p:nvPr>
        </p:nvSpPr>
        <p:spPr>
          <a:xfrm>
            <a:off x="288131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Title Placeholder 5"/>
          <p:cNvSpPr>
            <a:spLocks noGrp="1"/>
          </p:cNvSpPr>
          <p:nvPr>
            <p:ph type="body" idx="58"/>
          </p:nvPr>
        </p:nvSpPr>
        <p:spPr>
          <a:xfrm>
            <a:off x="288132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59"/>
          </p:nvPr>
        </p:nvSpPr>
        <p:spPr>
          <a:xfrm>
            <a:off x="2208649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Title Placeholder 6"/>
          <p:cNvSpPr>
            <a:spLocks noGrp="1"/>
          </p:cNvSpPr>
          <p:nvPr>
            <p:ph type="body" idx="60"/>
          </p:nvPr>
        </p:nvSpPr>
        <p:spPr>
          <a:xfrm>
            <a:off x="2211451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61"/>
          </p:nvPr>
        </p:nvSpPr>
        <p:spPr>
          <a:xfrm>
            <a:off x="4125857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Title Placeholder 7"/>
          <p:cNvSpPr>
            <a:spLocks noGrp="1"/>
          </p:cNvSpPr>
          <p:nvPr>
            <p:ph type="body" idx="62"/>
          </p:nvPr>
        </p:nvSpPr>
        <p:spPr>
          <a:xfrm>
            <a:off x="4128658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Content Placeholder 8"/>
          <p:cNvSpPr>
            <a:spLocks noGrp="1"/>
          </p:cNvSpPr>
          <p:nvPr>
            <p:ph sz="quarter" idx="63"/>
          </p:nvPr>
        </p:nvSpPr>
        <p:spPr>
          <a:xfrm>
            <a:off x="6034887" y="2570400"/>
            <a:ext cx="1625600" cy="1371600"/>
          </a:xfrm>
          <a:noFill/>
        </p:spPr>
        <p:txBody>
          <a:bodyPr lIns="0" rIns="0" bIns="0" anchor="ctr"/>
          <a:lstStyle>
            <a:lvl1pPr>
              <a:defRPr sz="100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Content Title Placeholder 8"/>
          <p:cNvSpPr>
            <a:spLocks noGrp="1"/>
          </p:cNvSpPr>
          <p:nvPr>
            <p:ph type="body" idx="64"/>
          </p:nvPr>
        </p:nvSpPr>
        <p:spPr>
          <a:xfrm>
            <a:off x="6040489" y="2567037"/>
            <a:ext cx="1619999" cy="181811"/>
          </a:xfrm>
        </p:spPr>
        <p:txBody>
          <a:bodyPr lIns="13716" rIns="0" bIns="0">
            <a:noAutofit/>
          </a:bodyPr>
          <a:lstStyle>
            <a:lvl1pPr>
              <a:spcBef>
                <a:spcPts val="0"/>
              </a:spcBef>
              <a:defRPr sz="750" b="1" spc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68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69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BD274-92E4-4A69-8358-772DEFF5E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5" name="top_border">
            <a:extLst>
              <a:ext uri="{FF2B5EF4-FFF2-40B4-BE49-F238E27FC236}">
                <a16:creationId xmlns:a16="http://schemas.microsoft.com/office/drawing/2014/main" id="{DD564F40-A94C-4C6B-9D2A-A7F672DB9338}"/>
              </a:ext>
            </a:extLst>
          </p:cNvPr>
          <p:cNvCxnSpPr>
            <a:cxnSpLocks/>
          </p:cNvCxnSpPr>
          <p:nvPr/>
        </p:nvCxnSpPr>
        <p:spPr>
          <a:xfrm>
            <a:off x="28813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top_border">
            <a:extLst>
              <a:ext uri="{FF2B5EF4-FFF2-40B4-BE49-F238E27FC236}">
                <a16:creationId xmlns:a16="http://schemas.microsoft.com/office/drawing/2014/main" id="{8E298D74-516E-4AE6-A00E-085A771DAA76}"/>
              </a:ext>
            </a:extLst>
          </p:cNvPr>
          <p:cNvCxnSpPr>
            <a:cxnSpLocks/>
          </p:cNvCxnSpPr>
          <p:nvPr/>
        </p:nvCxnSpPr>
        <p:spPr>
          <a:xfrm>
            <a:off x="2211451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top_border">
            <a:extLst>
              <a:ext uri="{FF2B5EF4-FFF2-40B4-BE49-F238E27FC236}">
                <a16:creationId xmlns:a16="http://schemas.microsoft.com/office/drawing/2014/main" id="{9E904036-4DAC-496D-8E62-DC4710658A4A}"/>
              </a:ext>
            </a:extLst>
          </p:cNvPr>
          <p:cNvCxnSpPr>
            <a:cxnSpLocks/>
          </p:cNvCxnSpPr>
          <p:nvPr/>
        </p:nvCxnSpPr>
        <p:spPr>
          <a:xfrm>
            <a:off x="4128658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top_border">
            <a:extLst>
              <a:ext uri="{FF2B5EF4-FFF2-40B4-BE49-F238E27FC236}">
                <a16:creationId xmlns:a16="http://schemas.microsoft.com/office/drawing/2014/main" id="{72E71D1D-31EC-4149-949A-FBD77972D7F1}"/>
              </a:ext>
            </a:extLst>
          </p:cNvPr>
          <p:cNvCxnSpPr>
            <a:cxnSpLocks/>
          </p:cNvCxnSpPr>
          <p:nvPr/>
        </p:nvCxnSpPr>
        <p:spPr>
          <a:xfrm>
            <a:off x="6040489" y="1052513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top_border">
            <a:extLst>
              <a:ext uri="{FF2B5EF4-FFF2-40B4-BE49-F238E27FC236}">
                <a16:creationId xmlns:a16="http://schemas.microsoft.com/office/drawing/2014/main" id="{F04374CE-0341-4030-AE37-4E7BB25979EE}"/>
              </a:ext>
            </a:extLst>
          </p:cNvPr>
          <p:cNvCxnSpPr>
            <a:cxnSpLocks/>
          </p:cNvCxnSpPr>
          <p:nvPr/>
        </p:nvCxnSpPr>
        <p:spPr>
          <a:xfrm>
            <a:off x="28813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top_border">
            <a:extLst>
              <a:ext uri="{FF2B5EF4-FFF2-40B4-BE49-F238E27FC236}">
                <a16:creationId xmlns:a16="http://schemas.microsoft.com/office/drawing/2014/main" id="{4885E037-1F86-4655-98D1-AB40630436F8}"/>
              </a:ext>
            </a:extLst>
          </p:cNvPr>
          <p:cNvCxnSpPr>
            <a:cxnSpLocks/>
          </p:cNvCxnSpPr>
          <p:nvPr/>
        </p:nvCxnSpPr>
        <p:spPr>
          <a:xfrm>
            <a:off x="2211451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top_border">
            <a:extLst>
              <a:ext uri="{FF2B5EF4-FFF2-40B4-BE49-F238E27FC236}">
                <a16:creationId xmlns:a16="http://schemas.microsoft.com/office/drawing/2014/main" id="{8E61612E-5A27-4169-946C-EFAE4C10E8F6}"/>
              </a:ext>
            </a:extLst>
          </p:cNvPr>
          <p:cNvCxnSpPr>
            <a:cxnSpLocks/>
          </p:cNvCxnSpPr>
          <p:nvPr/>
        </p:nvCxnSpPr>
        <p:spPr>
          <a:xfrm>
            <a:off x="4128658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top_border">
            <a:extLst>
              <a:ext uri="{FF2B5EF4-FFF2-40B4-BE49-F238E27FC236}">
                <a16:creationId xmlns:a16="http://schemas.microsoft.com/office/drawing/2014/main" id="{793F88B3-F7C2-4979-9502-77916FFA0ED6}"/>
              </a:ext>
            </a:extLst>
          </p:cNvPr>
          <p:cNvCxnSpPr>
            <a:cxnSpLocks/>
          </p:cNvCxnSpPr>
          <p:nvPr/>
        </p:nvCxnSpPr>
        <p:spPr>
          <a:xfrm>
            <a:off x="6040489" y="2564606"/>
            <a:ext cx="1634288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317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six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note Placeholder">
            <a:extLst>
              <a:ext uri="{FF2B5EF4-FFF2-40B4-BE49-F238E27FC236}">
                <a16:creationId xmlns:a16="http://schemas.microsoft.com/office/drawing/2014/main" id="{1A811070-57F4-48A3-A138-EA1448EBEF6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8900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1764392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1764392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3239883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239883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715374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4715374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6190866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6190866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7666358" y="2157769"/>
            <a:ext cx="1190700" cy="1774866"/>
          </a:xfrm>
        </p:spPr>
        <p:txBody>
          <a:bodyPr lIns="0" rIns="0" bIns="0"/>
          <a:lstStyle>
            <a:lvl1pPr>
              <a:defRPr sz="1000" spc="0"/>
            </a:lvl1pPr>
            <a:lvl2pPr>
              <a:spcBef>
                <a:spcPts val="225"/>
              </a:spcBef>
              <a:defRPr sz="900" spc="0"/>
            </a:lvl2pPr>
            <a:lvl3pPr>
              <a:spcBef>
                <a:spcPts val="225"/>
              </a:spcBef>
              <a:defRPr sz="900" spc="0"/>
            </a:lvl3pPr>
            <a:lvl4pPr>
              <a:spcBef>
                <a:spcPts val="225"/>
              </a:spcBef>
              <a:defRPr sz="900" spc="0"/>
            </a:lvl4pPr>
            <a:lvl5pPr>
              <a:spcBef>
                <a:spcPts val="225"/>
              </a:spcBef>
              <a:defRPr sz="90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666358" y="1053000"/>
            <a:ext cx="1190700" cy="1026017"/>
          </a:xfrm>
        </p:spPr>
        <p:txBody>
          <a:bodyPr lIns="0" rIns="0" bIns="0"/>
          <a:lstStyle>
            <a:lvl1pPr>
              <a:defRPr sz="10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BD4B2C-989D-4501-B872-061115337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754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four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6936185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6936184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471977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24"/>
          <p:cNvSpPr>
            <a:spLocks noGrp="1"/>
          </p:cNvSpPr>
          <p:nvPr>
            <p:ph type="body" sz="quarter" idx="41" hasCustomPrompt="1"/>
          </p:nvPr>
        </p:nvSpPr>
        <p:spPr>
          <a:xfrm>
            <a:off x="4719769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2503356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Text Placeholder 24"/>
          <p:cNvSpPr>
            <a:spLocks noGrp="1"/>
          </p:cNvSpPr>
          <p:nvPr>
            <p:ph type="body" sz="quarter" idx="43" hasCustomPrompt="1"/>
          </p:nvPr>
        </p:nvSpPr>
        <p:spPr>
          <a:xfrm>
            <a:off x="2503355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1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2" name="Text Placeholder 24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2381586"/>
            <a:ext cx="1919684" cy="1774866"/>
          </a:xfrm>
        </p:spPr>
        <p:txBody>
          <a:bodyPr lIns="0" rIns="0" bIns="0"/>
          <a:lstStyle>
            <a:lvl1pPr>
              <a:defRPr sz="900" spc="0"/>
            </a:lvl1pPr>
            <a:lvl2pPr>
              <a:spcBef>
                <a:spcPts val="225"/>
              </a:spcBef>
              <a:defRPr sz="825" spc="0"/>
            </a:lvl2pPr>
            <a:lvl3pPr>
              <a:spcBef>
                <a:spcPts val="225"/>
              </a:spcBef>
              <a:defRPr sz="825" spc="0"/>
            </a:lvl3pPr>
            <a:lvl4pPr>
              <a:spcBef>
                <a:spcPts val="225"/>
              </a:spcBef>
              <a:defRPr sz="825" spc="0"/>
            </a:lvl4pPr>
            <a:lvl5pPr>
              <a:spcBef>
                <a:spcPts val="225"/>
              </a:spcBef>
              <a:defRPr sz="825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BD4B2C-989D-4501-B872-061115337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top_border">
            <a:extLst>
              <a:ext uri="{FF2B5EF4-FFF2-40B4-BE49-F238E27FC236}">
                <a16:creationId xmlns:a16="http://schemas.microsoft.com/office/drawing/2014/main" id="{9C0B9DFB-1808-4B9B-AE55-45AFD918842D}"/>
              </a:ext>
            </a:extLst>
          </p:cNvPr>
          <p:cNvCxnSpPr>
            <a:cxnSpLocks/>
          </p:cNvCxnSpPr>
          <p:nvPr/>
        </p:nvCxnSpPr>
        <p:spPr>
          <a:xfrm>
            <a:off x="288900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_border">
            <a:extLst>
              <a:ext uri="{FF2B5EF4-FFF2-40B4-BE49-F238E27FC236}">
                <a16:creationId xmlns:a16="http://schemas.microsoft.com/office/drawing/2014/main" id="{8B7BA298-AC37-4EEF-AB16-25A5087ABD93}"/>
              </a:ext>
            </a:extLst>
          </p:cNvPr>
          <p:cNvCxnSpPr>
            <a:cxnSpLocks/>
          </p:cNvCxnSpPr>
          <p:nvPr/>
        </p:nvCxnSpPr>
        <p:spPr>
          <a:xfrm>
            <a:off x="288900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5DC29EDA-3423-421D-AD0C-0656D1AB2E3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88900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5" name="top_border">
            <a:extLst>
              <a:ext uri="{FF2B5EF4-FFF2-40B4-BE49-F238E27FC236}">
                <a16:creationId xmlns:a16="http://schemas.microsoft.com/office/drawing/2014/main" id="{DFADFDFD-9D30-43EA-B811-ED407368311C}"/>
              </a:ext>
            </a:extLst>
          </p:cNvPr>
          <p:cNvCxnSpPr>
            <a:cxnSpLocks/>
          </p:cNvCxnSpPr>
          <p:nvPr/>
        </p:nvCxnSpPr>
        <p:spPr>
          <a:xfrm>
            <a:off x="2503355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_border">
            <a:extLst>
              <a:ext uri="{FF2B5EF4-FFF2-40B4-BE49-F238E27FC236}">
                <a16:creationId xmlns:a16="http://schemas.microsoft.com/office/drawing/2014/main" id="{F57202FE-BFCC-477D-8D22-B930BA46556B}"/>
              </a:ext>
            </a:extLst>
          </p:cNvPr>
          <p:cNvCxnSpPr>
            <a:cxnSpLocks/>
          </p:cNvCxnSpPr>
          <p:nvPr/>
        </p:nvCxnSpPr>
        <p:spPr>
          <a:xfrm>
            <a:off x="2503355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5E0426CC-0E3A-4811-B0C1-4018F0D84B5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503355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9" name="top_border">
            <a:extLst>
              <a:ext uri="{FF2B5EF4-FFF2-40B4-BE49-F238E27FC236}">
                <a16:creationId xmlns:a16="http://schemas.microsoft.com/office/drawing/2014/main" id="{A5AD7F55-B89C-431E-B8BA-D8242E234A64}"/>
              </a:ext>
            </a:extLst>
          </p:cNvPr>
          <p:cNvCxnSpPr>
            <a:cxnSpLocks/>
          </p:cNvCxnSpPr>
          <p:nvPr/>
        </p:nvCxnSpPr>
        <p:spPr>
          <a:xfrm>
            <a:off x="4719769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top_border">
            <a:extLst>
              <a:ext uri="{FF2B5EF4-FFF2-40B4-BE49-F238E27FC236}">
                <a16:creationId xmlns:a16="http://schemas.microsoft.com/office/drawing/2014/main" id="{A17237CF-ACE4-4AFC-8DA3-8CD8B64AD7A5}"/>
              </a:ext>
            </a:extLst>
          </p:cNvPr>
          <p:cNvCxnSpPr>
            <a:cxnSpLocks/>
          </p:cNvCxnSpPr>
          <p:nvPr/>
        </p:nvCxnSpPr>
        <p:spPr>
          <a:xfrm>
            <a:off x="4719769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05929C2B-8FBD-4161-9948-D8744EEE33F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19769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36" name="top_border">
            <a:extLst>
              <a:ext uri="{FF2B5EF4-FFF2-40B4-BE49-F238E27FC236}">
                <a16:creationId xmlns:a16="http://schemas.microsoft.com/office/drawing/2014/main" id="{45E8442B-7C4E-451A-9C13-8E6D0153BDA3}"/>
              </a:ext>
            </a:extLst>
          </p:cNvPr>
          <p:cNvCxnSpPr>
            <a:cxnSpLocks/>
          </p:cNvCxnSpPr>
          <p:nvPr/>
        </p:nvCxnSpPr>
        <p:spPr>
          <a:xfrm>
            <a:off x="6936184" y="195046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top_border">
            <a:extLst>
              <a:ext uri="{FF2B5EF4-FFF2-40B4-BE49-F238E27FC236}">
                <a16:creationId xmlns:a16="http://schemas.microsoft.com/office/drawing/2014/main" id="{D35E7716-3C01-49DF-88D7-DDDF0CBCEBBC}"/>
              </a:ext>
            </a:extLst>
          </p:cNvPr>
          <p:cNvCxnSpPr>
            <a:cxnSpLocks/>
          </p:cNvCxnSpPr>
          <p:nvPr/>
        </p:nvCxnSpPr>
        <p:spPr>
          <a:xfrm>
            <a:off x="6936184" y="2350517"/>
            <a:ext cx="19305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2A75F038-6B0F-4908-896B-DD513AFD0AF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936184" y="1976774"/>
            <a:ext cx="1919684" cy="362612"/>
          </a:xfrm>
        </p:spPr>
        <p:txBody>
          <a:bodyPr lIns="0" rIns="0" bIns="0"/>
          <a:lstStyle>
            <a:lvl1pPr>
              <a:lnSpc>
                <a:spcPct val="95000"/>
              </a:lnSpc>
              <a:spcBef>
                <a:spcPts val="0"/>
              </a:spcBef>
              <a:defRPr sz="900" b="1" spc="0"/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25" spc="0"/>
            </a:lvl2pPr>
            <a:lvl3pPr>
              <a:spcBef>
                <a:spcPts val="225"/>
              </a:spcBef>
              <a:defRPr sz="675"/>
            </a:lvl3pPr>
            <a:lvl4pPr>
              <a:spcBef>
                <a:spcPts val="225"/>
              </a:spcBef>
              <a:defRPr sz="675"/>
            </a:lvl4pPr>
            <a:lvl5pPr>
              <a:spcBef>
                <a:spcPts val="225"/>
              </a:spcBef>
              <a:defRPr sz="6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792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800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800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>
            <a:lvl1pPr>
              <a:defRPr sz="21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6671D5E5-809D-4CA8-92DE-1D9A2DA62EA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90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EDD50B3-A8D6-4FD4-B831-37F14BD08C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3850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94E7927-3F9E-4653-B821-A7C0104E4F6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90060" y="1784152"/>
            <a:ext cx="2561456" cy="2787848"/>
          </a:xfrm>
        </p:spPr>
        <p:txBody>
          <a:bodyPr lIns="0" rIns="0" bIns="0"/>
          <a:lstStyle>
            <a:lvl1pPr>
              <a:defRPr sz="900" spc="0"/>
            </a:lvl1pPr>
            <a:lvl2pPr>
              <a:defRPr sz="900" spc="0"/>
            </a:lvl2pPr>
            <a:lvl3pPr>
              <a:defRPr sz="900" spc="0"/>
            </a:lvl3pPr>
            <a:lvl4pPr>
              <a:defRPr sz="900" spc="0"/>
            </a:lvl4pPr>
            <a:lvl5pPr>
              <a:defRPr sz="900" spc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888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note">
            <a:extLst>
              <a:ext uri="{FF2B5EF4-FFF2-40B4-BE49-F238E27FC236}">
                <a16:creationId xmlns:a16="http://schemas.microsoft.com/office/drawing/2014/main" id="{A00548FF-A274-4B73-ACDA-487D400201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130" y="4108850"/>
            <a:ext cx="8568927" cy="481013"/>
          </a:xfrm>
        </p:spPr>
        <p:txBody>
          <a:bodyPr lIns="0" rIns="0" bIns="0" anchor="b" anchorCtr="0">
            <a:noAutofit/>
          </a:bodyPr>
          <a:lstStyle>
            <a:lvl1pPr eaLnBrk="1">
              <a:lnSpc>
                <a:spcPct val="110000"/>
              </a:lnSpc>
              <a:spcBef>
                <a:spcPts val="0"/>
              </a:spcBef>
              <a:defRPr sz="800" b="0" spc="0">
                <a:latin typeface="+mn-lt"/>
              </a:defRPr>
            </a:lvl1pPr>
            <a:lvl2pPr marL="0" indent="0" algn="l" eaLnBrk="1">
              <a:lnSpc>
                <a:spcPct val="110000"/>
              </a:lnSpc>
              <a:spcBef>
                <a:spcPts val="0"/>
              </a:spcBef>
              <a:buNone/>
              <a:defRPr sz="600" spc="0">
                <a:latin typeface="+mn-lt"/>
              </a:defRPr>
            </a:lvl2pPr>
          </a:lstStyle>
          <a:p>
            <a:pPr lvl="0"/>
            <a:r>
              <a:rPr lang="en-US" dirty="0"/>
              <a:t>Source: set in 8p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 lIns="0" rIns="0" bIns="0" anchor="ctr"/>
          <a:lstStyle/>
          <a:p>
            <a:r>
              <a:rPr lang="en-US"/>
              <a:t>Optional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8501452" y="4828510"/>
            <a:ext cx="355607" cy="136525"/>
          </a:xfrm>
        </p:spPr>
        <p:txBody>
          <a:bodyPr lIns="0" rIns="0" bIns="0" anchor="ctr"/>
          <a:lstStyle/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DCB2A6-0D58-4044-A740-A77E684F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</p:spPr>
        <p:txBody>
          <a:bodyPr lIns="0" rIns="0" bIns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665884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 thre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41" name="Picture Placeholder 1"/>
          <p:cNvSpPr>
            <a:spLocks noGrp="1"/>
          </p:cNvSpPr>
          <p:nvPr>
            <p:ph type="pic" sz="quarter" idx="44"/>
          </p:nvPr>
        </p:nvSpPr>
        <p:spPr>
          <a:xfrm>
            <a:off x="286942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323850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6190060" y="1053000"/>
            <a:ext cx="703658" cy="703670"/>
          </a:xfrm>
          <a:prstGeom prst="ellipse">
            <a:avLst/>
          </a:prstGeom>
        </p:spPr>
        <p:txBody>
          <a:bodyPr lIns="0" rIns="0" bIns="0"/>
          <a:lstStyle>
            <a:lvl1pPr>
              <a:defRPr sz="825" b="0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2" name="Text Placeholder 1"/>
          <p:cNvSpPr>
            <a:spLocks noGrp="1"/>
          </p:cNvSpPr>
          <p:nvPr>
            <p:ph type="body" sz="quarter" idx="45" hasCustomPrompt="1"/>
          </p:nvPr>
        </p:nvSpPr>
        <p:spPr>
          <a:xfrm>
            <a:off x="288900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3"/>
              </a:spcBef>
              <a:buNone/>
              <a:defRPr sz="1050" spc="0"/>
            </a:lvl2pPr>
            <a:lvl3pPr marL="150019" indent="-150019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AEC0D21-6F81-4867-95A2-CB389ACF7CA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37310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3"/>
              </a:spcBef>
              <a:buNone/>
              <a:defRPr sz="1050" spc="0"/>
            </a:lvl2pPr>
            <a:lvl3pPr marL="150019" indent="-150019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124B4AA-39A3-422E-8737-8B4BAF0EE35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94823" y="1922574"/>
            <a:ext cx="2665809" cy="2649425"/>
          </a:xfrm>
        </p:spPr>
        <p:txBody>
          <a:bodyPr lIns="0" rIns="0" bIns="0"/>
          <a:lstStyle>
            <a:lvl1pPr>
              <a:defRPr sz="1050" b="1" spc="0"/>
            </a:lvl1pPr>
            <a:lvl2pPr marL="0" indent="0">
              <a:spcBef>
                <a:spcPts val="113"/>
              </a:spcBef>
              <a:buNone/>
              <a:defRPr sz="1050" spc="0"/>
            </a:lvl2pPr>
            <a:lvl3pPr marL="150019" indent="-150019">
              <a:spcBef>
                <a:spcPts val="450"/>
              </a:spcBef>
              <a:buFont typeface="Arial" panose="020B0604020202020204" pitchFamily="34" charset="0"/>
              <a:buChar char="•"/>
              <a:defRPr sz="1050" spc="0"/>
            </a:lvl3pPr>
            <a:lvl4pPr>
              <a:spcBef>
                <a:spcPts val="225"/>
              </a:spcBef>
              <a:defRPr sz="1050" spc="0"/>
            </a:lvl4pPr>
            <a:lvl5pPr>
              <a:spcBef>
                <a:spcPts val="225"/>
              </a:spcBef>
              <a:defRPr sz="1050" spc="0"/>
            </a:lvl5pPr>
          </a:lstStyle>
          <a:p>
            <a:pPr lvl="0"/>
            <a:r>
              <a:rPr lang="en-US" dirty="0"/>
              <a:t>Click to edit Master text styles (8-10pt)</a:t>
            </a:r>
          </a:p>
          <a:p>
            <a:pPr lvl="1"/>
            <a:r>
              <a:rPr lang="en-US" dirty="0"/>
              <a:t>Second </a:t>
            </a:r>
            <a:br>
              <a:rPr lang="en-US" dirty="0"/>
            </a:b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E45F85-5CBA-4E82-99F0-C0FA767C6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5627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note Placeholder">
            <a:extLst>
              <a:ext uri="{FF2B5EF4-FFF2-40B4-BE49-F238E27FC236}">
                <a16:creationId xmlns:a16="http://schemas.microsoft.com/office/drawing/2014/main" id="{B74D8647-FABE-46C8-B992-8C3DCFD10B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8130" y="4090988"/>
            <a:ext cx="8568927" cy="481013"/>
          </a:xfrm>
        </p:spPr>
        <p:txBody>
          <a:bodyPr lIns="0" rIns="0" bIns="0" anchor="b" anchorCtr="0">
            <a:noAutofit/>
          </a:bodyPr>
          <a:lstStyle>
            <a:lvl1pPr>
              <a:spcBef>
                <a:spcPts val="0"/>
              </a:spcBef>
              <a:defRPr sz="750" b="0" spc="0"/>
            </a:lvl1pPr>
            <a:lvl2pPr marL="0" indent="0" algn="l">
              <a:spcBef>
                <a:spcPts val="0"/>
              </a:spcBef>
              <a:buNone/>
              <a:defRPr sz="600" spc="0"/>
            </a:lvl2pPr>
          </a:lstStyle>
          <a:p>
            <a:pPr lvl="0"/>
            <a:r>
              <a:rPr lang="en-US" dirty="0"/>
              <a:t>Source: set in 8pt</a:t>
            </a:r>
          </a:p>
          <a:p>
            <a:pPr lvl="1"/>
            <a:r>
              <a:rPr lang="en-US" sz="450" dirty="0"/>
              <a:t>Level two</a:t>
            </a:r>
            <a:endParaRPr lang="en-GB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3820948" y="105300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24" hasCustomPrompt="1"/>
          </p:nvPr>
        </p:nvSpPr>
        <p:spPr>
          <a:xfrm>
            <a:off x="4328143" y="105300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4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5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80" name="Picture Placeholder 12"/>
          <p:cNvSpPr>
            <a:spLocks noGrp="1"/>
          </p:cNvSpPr>
          <p:nvPr>
            <p:ph type="pic" sz="quarter" idx="36"/>
          </p:nvPr>
        </p:nvSpPr>
        <p:spPr>
          <a:xfrm>
            <a:off x="288900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1" name="Text Placeholder 24"/>
          <p:cNvSpPr>
            <a:spLocks noGrp="1"/>
          </p:cNvSpPr>
          <p:nvPr>
            <p:ph type="body" sz="quarter" idx="37" hasCustomPrompt="1"/>
          </p:nvPr>
        </p:nvSpPr>
        <p:spPr>
          <a:xfrm>
            <a:off x="803808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2" name="Picture Placeholder 12"/>
          <p:cNvSpPr>
            <a:spLocks noGrp="1"/>
          </p:cNvSpPr>
          <p:nvPr>
            <p:ph type="pic" sz="quarter" idx="38"/>
          </p:nvPr>
        </p:nvSpPr>
        <p:spPr>
          <a:xfrm>
            <a:off x="2057662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3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2572570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4" name="Picture Placeholder 12"/>
          <p:cNvSpPr>
            <a:spLocks noGrp="1"/>
          </p:cNvSpPr>
          <p:nvPr>
            <p:ph type="pic" sz="quarter" idx="40"/>
          </p:nvPr>
        </p:nvSpPr>
        <p:spPr>
          <a:xfrm>
            <a:off x="3819898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5" name="Text Placeholder 24"/>
          <p:cNvSpPr>
            <a:spLocks noGrp="1"/>
          </p:cNvSpPr>
          <p:nvPr>
            <p:ph type="body" sz="quarter" idx="41" hasCustomPrompt="1"/>
          </p:nvPr>
        </p:nvSpPr>
        <p:spPr>
          <a:xfrm>
            <a:off x="4334807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6" name="Picture Placeholder 12"/>
          <p:cNvSpPr>
            <a:spLocks noGrp="1"/>
          </p:cNvSpPr>
          <p:nvPr>
            <p:ph type="pic" sz="quarter" idx="42"/>
          </p:nvPr>
        </p:nvSpPr>
        <p:spPr>
          <a:xfrm>
            <a:off x="5582134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7" name="Text Placeholder 24"/>
          <p:cNvSpPr>
            <a:spLocks noGrp="1"/>
          </p:cNvSpPr>
          <p:nvPr>
            <p:ph type="body" sz="quarter" idx="43" hasCustomPrompt="1"/>
          </p:nvPr>
        </p:nvSpPr>
        <p:spPr>
          <a:xfrm>
            <a:off x="6097044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88" name="Picture Placeholder 12"/>
          <p:cNvSpPr>
            <a:spLocks noGrp="1"/>
          </p:cNvSpPr>
          <p:nvPr>
            <p:ph type="pic" sz="quarter" idx="44"/>
          </p:nvPr>
        </p:nvSpPr>
        <p:spPr>
          <a:xfrm>
            <a:off x="7344370" y="1834028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9" name="Text Placeholder 24"/>
          <p:cNvSpPr>
            <a:spLocks noGrp="1"/>
          </p:cNvSpPr>
          <p:nvPr>
            <p:ph type="body" sz="quarter" idx="45" hasCustomPrompt="1"/>
          </p:nvPr>
        </p:nvSpPr>
        <p:spPr>
          <a:xfrm>
            <a:off x="7859281" y="1834028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0" name="Picture Placeholder 12"/>
          <p:cNvSpPr>
            <a:spLocks noGrp="1"/>
          </p:cNvSpPr>
          <p:nvPr>
            <p:ph type="pic" sz="quarter" idx="46"/>
          </p:nvPr>
        </p:nvSpPr>
        <p:spPr>
          <a:xfrm>
            <a:off x="288900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1" name="Text Placeholder 24"/>
          <p:cNvSpPr>
            <a:spLocks noGrp="1"/>
          </p:cNvSpPr>
          <p:nvPr>
            <p:ph type="body" sz="quarter" idx="47" hasCustomPrompt="1"/>
          </p:nvPr>
        </p:nvSpPr>
        <p:spPr>
          <a:xfrm>
            <a:off x="803808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2" name="Picture Placeholder 12"/>
          <p:cNvSpPr>
            <a:spLocks noGrp="1"/>
          </p:cNvSpPr>
          <p:nvPr>
            <p:ph type="pic" sz="quarter" idx="48"/>
          </p:nvPr>
        </p:nvSpPr>
        <p:spPr>
          <a:xfrm>
            <a:off x="2057662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3" name="Text Placeholder 24"/>
          <p:cNvSpPr>
            <a:spLocks noGrp="1"/>
          </p:cNvSpPr>
          <p:nvPr>
            <p:ph type="body" sz="quarter" idx="49" hasCustomPrompt="1"/>
          </p:nvPr>
        </p:nvSpPr>
        <p:spPr>
          <a:xfrm>
            <a:off x="2572570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4" name="Picture Placeholder 12"/>
          <p:cNvSpPr>
            <a:spLocks noGrp="1"/>
          </p:cNvSpPr>
          <p:nvPr>
            <p:ph type="pic" sz="quarter" idx="50"/>
          </p:nvPr>
        </p:nvSpPr>
        <p:spPr>
          <a:xfrm>
            <a:off x="3819898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5" name="Text Placeholder 24"/>
          <p:cNvSpPr>
            <a:spLocks noGrp="1"/>
          </p:cNvSpPr>
          <p:nvPr>
            <p:ph type="body" sz="quarter" idx="51" hasCustomPrompt="1"/>
          </p:nvPr>
        </p:nvSpPr>
        <p:spPr>
          <a:xfrm>
            <a:off x="4334807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6" name="Picture Placeholder 12"/>
          <p:cNvSpPr>
            <a:spLocks noGrp="1"/>
          </p:cNvSpPr>
          <p:nvPr>
            <p:ph type="pic" sz="quarter" idx="52"/>
          </p:nvPr>
        </p:nvSpPr>
        <p:spPr>
          <a:xfrm>
            <a:off x="5582134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7" name="Text Placeholder 24"/>
          <p:cNvSpPr>
            <a:spLocks noGrp="1"/>
          </p:cNvSpPr>
          <p:nvPr>
            <p:ph type="body" sz="quarter" idx="53" hasCustomPrompt="1"/>
          </p:nvPr>
        </p:nvSpPr>
        <p:spPr>
          <a:xfrm>
            <a:off x="6097044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98" name="Picture Placeholder 12"/>
          <p:cNvSpPr>
            <a:spLocks noGrp="1"/>
          </p:cNvSpPr>
          <p:nvPr>
            <p:ph type="pic" sz="quarter" idx="54"/>
          </p:nvPr>
        </p:nvSpPr>
        <p:spPr>
          <a:xfrm>
            <a:off x="7344370" y="2626317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9" name="Text Placeholder 24"/>
          <p:cNvSpPr>
            <a:spLocks noGrp="1"/>
          </p:cNvSpPr>
          <p:nvPr>
            <p:ph type="body" sz="quarter" idx="55" hasCustomPrompt="1"/>
          </p:nvPr>
        </p:nvSpPr>
        <p:spPr>
          <a:xfrm>
            <a:off x="7859281" y="2626317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0" name="Picture Placeholder 12"/>
          <p:cNvSpPr>
            <a:spLocks noGrp="1"/>
          </p:cNvSpPr>
          <p:nvPr>
            <p:ph type="pic" sz="quarter" idx="56"/>
          </p:nvPr>
        </p:nvSpPr>
        <p:spPr>
          <a:xfrm>
            <a:off x="295426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1" name="Text Placeholder 24"/>
          <p:cNvSpPr>
            <a:spLocks noGrp="1"/>
          </p:cNvSpPr>
          <p:nvPr>
            <p:ph type="body" sz="quarter" idx="57" hasCustomPrompt="1"/>
          </p:nvPr>
        </p:nvSpPr>
        <p:spPr>
          <a:xfrm>
            <a:off x="810334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2" name="Picture Placeholder 12"/>
          <p:cNvSpPr>
            <a:spLocks noGrp="1"/>
          </p:cNvSpPr>
          <p:nvPr>
            <p:ph type="pic" sz="quarter" idx="58"/>
          </p:nvPr>
        </p:nvSpPr>
        <p:spPr>
          <a:xfrm>
            <a:off x="2057662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3" name="Text Placeholder 24"/>
          <p:cNvSpPr>
            <a:spLocks noGrp="1"/>
          </p:cNvSpPr>
          <p:nvPr>
            <p:ph type="body" sz="quarter" idx="59" hasCustomPrompt="1"/>
          </p:nvPr>
        </p:nvSpPr>
        <p:spPr>
          <a:xfrm>
            <a:off x="2572570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4" name="Picture Placeholder 12"/>
          <p:cNvSpPr>
            <a:spLocks noGrp="1"/>
          </p:cNvSpPr>
          <p:nvPr>
            <p:ph type="pic" sz="quarter" idx="60"/>
          </p:nvPr>
        </p:nvSpPr>
        <p:spPr>
          <a:xfrm>
            <a:off x="3819898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5" name="Text Placeholder 24"/>
          <p:cNvSpPr>
            <a:spLocks noGrp="1"/>
          </p:cNvSpPr>
          <p:nvPr>
            <p:ph type="body" sz="quarter" idx="61" hasCustomPrompt="1"/>
          </p:nvPr>
        </p:nvSpPr>
        <p:spPr>
          <a:xfrm>
            <a:off x="4334807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6" name="Picture Placeholder 12"/>
          <p:cNvSpPr>
            <a:spLocks noGrp="1"/>
          </p:cNvSpPr>
          <p:nvPr>
            <p:ph type="pic" sz="quarter" idx="62"/>
          </p:nvPr>
        </p:nvSpPr>
        <p:spPr>
          <a:xfrm>
            <a:off x="5582134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Text Placeholder 24"/>
          <p:cNvSpPr>
            <a:spLocks noGrp="1"/>
          </p:cNvSpPr>
          <p:nvPr>
            <p:ph type="body" sz="quarter" idx="63" hasCustomPrompt="1"/>
          </p:nvPr>
        </p:nvSpPr>
        <p:spPr>
          <a:xfrm>
            <a:off x="6097044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08" name="Picture Placeholder 12"/>
          <p:cNvSpPr>
            <a:spLocks noGrp="1"/>
          </p:cNvSpPr>
          <p:nvPr>
            <p:ph type="pic" sz="quarter" idx="64"/>
          </p:nvPr>
        </p:nvSpPr>
        <p:spPr>
          <a:xfrm>
            <a:off x="7344370" y="3397060"/>
            <a:ext cx="507201" cy="586776"/>
          </a:xfrm>
        </p:spPr>
        <p:txBody>
          <a:bodyPr lIns="0" rIns="0" bIns="0"/>
          <a:lstStyle>
            <a:lvl1pPr>
              <a:defRPr sz="800" b="1" spc="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9" name="Text Placeholder 24"/>
          <p:cNvSpPr>
            <a:spLocks noGrp="1"/>
          </p:cNvSpPr>
          <p:nvPr>
            <p:ph type="body" sz="quarter" idx="65" hasCustomPrompt="1"/>
          </p:nvPr>
        </p:nvSpPr>
        <p:spPr>
          <a:xfrm>
            <a:off x="7859281" y="3397060"/>
            <a:ext cx="997779" cy="588047"/>
          </a:xfrm>
        </p:spPr>
        <p:txBody>
          <a:bodyPr lIns="34290" rIns="0" bIns="0"/>
          <a:lstStyle>
            <a:lvl1pPr>
              <a:defRPr sz="800" spc="0"/>
            </a:lvl1pPr>
            <a:lvl2pPr>
              <a:defRPr sz="800" spc="0"/>
            </a:lvl2pPr>
            <a:lvl3pPr>
              <a:defRPr sz="800" spc="0"/>
            </a:lvl3pPr>
          </a:lstStyle>
          <a:p>
            <a:pPr lvl="0"/>
            <a:r>
              <a:rPr lang="en-US" dirty="0"/>
              <a:t>Click to edit (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EEA165-D91F-4A2B-B8AC-8F482B529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30245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al notice/important information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288900" y="1052193"/>
            <a:ext cx="8568927" cy="3519807"/>
          </a:xfrm>
        </p:spPr>
        <p:txBody>
          <a:bodyPr lIns="0" rIns="0" bIns="0" numCol="2" spcCol="360000">
            <a:noAutofit/>
          </a:bodyPr>
          <a:lstStyle>
            <a:lvl1pPr>
              <a:defRPr sz="900" spc="0"/>
            </a:lvl1pPr>
          </a:lstStyle>
          <a:p>
            <a:pPr lvl="0"/>
            <a:r>
              <a:rPr lang="en-US" dirty="0"/>
              <a:t>Click to edit Master text styles (9pt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763116" y="4843422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01452" y="4843422"/>
            <a:ext cx="355607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83DD5E-DC6A-4106-A995-2452B525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rIns="0" bIns="0"/>
          <a:lstStyle>
            <a:lvl1pPr>
              <a:defRPr sz="1500" spc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8665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0972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esenter Name">
            <a:extLst>
              <a:ext uri="{FF2B5EF4-FFF2-40B4-BE49-F238E27FC236}">
                <a16:creationId xmlns:a16="http://schemas.microsoft.com/office/drawing/2014/main" id="{5ACC0FCF-0877-41B8-9014-A349B57072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901" y="1018579"/>
            <a:ext cx="2655515" cy="2283354"/>
          </a:xfrm>
        </p:spPr>
        <p:txBody>
          <a:bodyPr wrap="square" lIns="0" rIns="0" bIns="0" anchor="t">
            <a:noAutofit/>
          </a:bodyPr>
          <a:lstStyle>
            <a:lvl1pPr>
              <a:spcBef>
                <a:spcPts val="0"/>
              </a:spcBef>
              <a:defRPr sz="1050" b="1" spc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50" spc="0"/>
            </a:lvl2pPr>
          </a:lstStyle>
          <a:p>
            <a:r>
              <a:rPr lang="en-GB" dirty="0"/>
              <a:t>Invesco department 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ddress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2B16FB8D-FC7A-4958-9D07-F793EB8215A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88131" y="4843424"/>
            <a:ext cx="3240000" cy="136525"/>
          </a:xfrm>
        </p:spPr>
        <p:txBody>
          <a:bodyPr lIns="0" rIns="0" bIns="0"/>
          <a:lstStyle>
            <a:lvl1pPr>
              <a:defRPr sz="750"/>
            </a:lvl1pPr>
          </a:lstStyle>
          <a:p>
            <a:r>
              <a:rPr lang="en-US"/>
              <a:t>Optional footer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00" y="281739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6653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BDE1D68A-994A-4820-BF03-0AD9C65A337F}"/>
              </a:ext>
            </a:extLst>
          </p:cNvPr>
          <p:cNvGrpSpPr>
            <a:grpSpLocks/>
          </p:cNvGrpSpPr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1EF77CC-81B1-4470-80C3-525625BF713E}"/>
                </a:ext>
              </a:extLst>
            </p:cNvPr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3DD88A6-37E5-43E3-9F0C-C21AC942E0B6}"/>
                </a:ext>
              </a:extLst>
            </p:cNvPr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E2CA91F-5EA4-4537-9362-920AA42B7321}"/>
                </a:ext>
              </a:extLst>
            </p:cNvPr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EC991D8-C3A5-49B8-92EB-E5E73B6672F0}"/>
                </a:ext>
              </a:extLst>
            </p:cNvPr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598D21-6C89-44C5-9728-0CFA47CD4CCA}"/>
                </a:ext>
              </a:extLst>
            </p:cNvPr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332B4E4-5ED4-47F9-8FE8-B0DDF2A221CD}"/>
                </a:ext>
              </a:extLst>
            </p:cNvPr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10FE130-71CA-465B-9F2A-78DA14385D58}"/>
                </a:ext>
              </a:extLst>
            </p:cNvPr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17120F1-89F3-43A8-B18C-D8CF81007549}"/>
                </a:ext>
              </a:extLst>
            </p:cNvPr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C31A1F5-F6DA-4FDA-BE1A-8216242BFC7B}"/>
                </a:ext>
              </a:extLst>
            </p:cNvPr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ECEC56A-8DA8-4C81-8A4F-79C5D1649B12}"/>
                </a:ext>
              </a:extLst>
            </p:cNvPr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ABB5854-1B69-4DF4-A570-0C57C2599F5D}"/>
                </a:ext>
              </a:extLst>
            </p:cNvPr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A9A095E-9280-4BCE-BD6B-6F4A7B7C5266}"/>
                </a:ext>
              </a:extLst>
            </p:cNvPr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330F9EA-BE8B-47A9-A0C2-B8CFB3729F77}"/>
                </a:ext>
              </a:extLst>
            </p:cNvPr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</p:grpSp>
      <p:grpSp>
        <p:nvGrpSpPr>
          <p:cNvPr id="28" name="Grid" hidden="1">
            <a:extLst>
              <a:ext uri="{FF2B5EF4-FFF2-40B4-BE49-F238E27FC236}">
                <a16:creationId xmlns:a16="http://schemas.microsoft.com/office/drawing/2014/main" id="{D25E9C7D-198D-4839-9773-AA1DA35A2102}"/>
              </a:ext>
            </a:extLst>
          </p:cNvPr>
          <p:cNvGrpSpPr>
            <a:grpSpLocks/>
          </p:cNvGrpSpPr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52CC2F-79DE-4907-A76A-6D0C85D1F127}"/>
                </a:ext>
              </a:extLst>
            </p:cNvPr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F04C49E-ABB4-4100-8476-BF47D359370C}"/>
                </a:ext>
              </a:extLst>
            </p:cNvPr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8767C1-807F-48E7-BEA3-59BDE2D00F09}"/>
                </a:ext>
              </a:extLst>
            </p:cNvPr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2FB8D6-20BE-4462-BABC-BEA36F217954}"/>
                </a:ext>
              </a:extLst>
            </p:cNvPr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E2F78A-8BBA-41D4-890B-68C4069AE5C3}"/>
                </a:ext>
              </a:extLst>
            </p:cNvPr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1588242-E004-4444-B3D3-B067E9853C62}"/>
                </a:ext>
              </a:extLst>
            </p:cNvPr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1F16449-C506-4E91-BB35-EFD972546409}"/>
                </a:ext>
              </a:extLst>
            </p:cNvPr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DBE2198-3B81-4D44-834B-EC903A4B89A1}"/>
                </a:ext>
              </a:extLst>
            </p:cNvPr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45A6B22-2D89-4161-8450-82E83D170C24}"/>
                </a:ext>
              </a:extLst>
            </p:cNvPr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C9E3769-0AF1-4574-834E-2320AAD52D93}"/>
                </a:ext>
              </a:extLst>
            </p:cNvPr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D6F364D-6D45-4B78-8994-CC8B1067C387}"/>
                </a:ext>
              </a:extLst>
            </p:cNvPr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900" y="1052513"/>
            <a:ext cx="8564587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5" y="4828510"/>
            <a:ext cx="5902923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28510"/>
            <a:ext cx="355607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pic>
        <p:nvPicPr>
          <p:cNvPr id="44" name="图片 43"/>
          <p:cNvPicPr>
            <a:picLocks noChangeAspect="1"/>
          </p:cNvPicPr>
          <p:nvPr userDrawn="1"/>
        </p:nvPicPr>
        <p:blipFill>
          <a:blip r:embed="rId3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8136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662" r:id="rId2"/>
    <p:sldLayoutId id="2147483756" r:id="rId3"/>
    <p:sldLayoutId id="2147483755" r:id="rId4"/>
    <p:sldLayoutId id="2147483661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2" r:id="rId35"/>
  </p:sldLayoutIdLst>
  <p:hf hdr="0" dt="0"/>
  <p:txStyles>
    <p:titleStyle>
      <a:lvl1pPr algn="l" defTabSz="171440" rtl="0" eaLnBrk="1" latinLnBrk="0" hangingPunct="1">
        <a:lnSpc>
          <a:spcPct val="100000"/>
        </a:lnSpc>
        <a:spcBef>
          <a:spcPct val="0"/>
        </a:spcBef>
        <a:buNone/>
        <a:defRPr sz="2000" b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40" rtl="0" eaLnBrk="1" latinLnBrk="0" hangingPunct="1">
        <a:lnSpc>
          <a:spcPct val="100000"/>
        </a:lnSpc>
        <a:spcBef>
          <a:spcPts val="1200"/>
        </a:spcBef>
        <a:buFont typeface="Verdana" pitchFamily="34" charset="0"/>
        <a:buNone/>
        <a:defRPr sz="1200" b="0" kern="1200" spc="0" baseline="0">
          <a:solidFill>
            <a:schemeClr val="tx1"/>
          </a:solidFill>
          <a:latin typeface="Graphik Semibold" panose="020B0703030202060203" pitchFamily="34" charset="0"/>
          <a:ea typeface="+mn-ea"/>
          <a:cs typeface="+mn-cs"/>
        </a:defRPr>
      </a:lvl1pPr>
      <a:lvl2pPr marL="0" indent="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200" b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3716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27432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1148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832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11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90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9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9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7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6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5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7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5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8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A4A4A4"/>
          </p15:clr>
        </p15:guide>
        <p15:guide id="2" orient="horz" pos="1624" userDrawn="1">
          <p15:clr>
            <a:srgbClr val="A4A4A4"/>
          </p15:clr>
        </p15:guide>
        <p15:guide id="3" orient="horz" pos="664" userDrawn="1">
          <p15:clr>
            <a:srgbClr val="A4A4A4"/>
          </p15:clr>
        </p15:guide>
        <p15:guide id="4" orient="horz" pos="448" userDrawn="1">
          <p15:clr>
            <a:srgbClr val="A4A4A4"/>
          </p15:clr>
        </p15:guide>
        <p15:guide id="5" orient="horz" pos="184" userDrawn="1">
          <p15:clr>
            <a:srgbClr val="A4A4A4"/>
          </p15:clr>
        </p15:guide>
        <p15:guide id="6" orient="horz" pos="2480" userDrawn="1">
          <p15:clr>
            <a:srgbClr val="A4A4A4"/>
          </p15:clr>
        </p15:guide>
        <p15:guide id="7" orient="horz" pos="2880" userDrawn="1">
          <p15:clr>
            <a:srgbClr val="A4A4A4"/>
          </p15:clr>
        </p15:guide>
        <p15:guide id="8" orient="horz" pos="3112" userDrawn="1">
          <p15:clr>
            <a:srgbClr val="A4A4A4"/>
          </p15:clr>
        </p15:guide>
        <p15:guide id="9" pos="184" userDrawn="1">
          <p15:clr>
            <a:srgbClr val="A4A4A4"/>
          </p15:clr>
        </p15:guide>
        <p15:guide id="10" pos="928" userDrawn="1">
          <p15:clr>
            <a:srgbClr val="A4A4A4"/>
          </p15:clr>
        </p15:guide>
        <p15:guide id="11" pos="1112" userDrawn="1">
          <p15:clr>
            <a:srgbClr val="A4A4A4"/>
          </p15:clr>
        </p15:guide>
        <p15:guide id="12" pos="1864" userDrawn="1">
          <p15:clr>
            <a:srgbClr val="A4A4A4"/>
          </p15:clr>
        </p15:guide>
        <p15:guide id="13" pos="2040" userDrawn="1">
          <p15:clr>
            <a:srgbClr val="A4A4A4"/>
          </p15:clr>
        </p15:guide>
        <p15:guide id="14" pos="2792" userDrawn="1">
          <p15:clr>
            <a:srgbClr val="A4A4A4"/>
          </p15:clr>
        </p15:guide>
        <p15:guide id="15" pos="2968" userDrawn="1">
          <p15:clr>
            <a:srgbClr val="A4A4A4"/>
          </p15:clr>
        </p15:guide>
        <p15:guide id="16" pos="3720" userDrawn="1">
          <p15:clr>
            <a:srgbClr val="A4A4A4"/>
          </p15:clr>
        </p15:guide>
        <p15:guide id="17" pos="3896" userDrawn="1">
          <p15:clr>
            <a:srgbClr val="A4A4A4"/>
          </p15:clr>
        </p15:guide>
        <p15:guide id="18" pos="4648" userDrawn="1">
          <p15:clr>
            <a:srgbClr val="A4A4A4"/>
          </p15:clr>
        </p15:guide>
        <p15:guide id="19" pos="4832" userDrawn="1">
          <p15:clr>
            <a:srgbClr val="A4A4A4"/>
          </p15:clr>
        </p15:guide>
        <p15:guide id="20" pos="5576" userDrawn="1">
          <p15:clr>
            <a:srgbClr val="A4A4A4"/>
          </p15:clr>
        </p15:guide>
        <p15:guide id="21" orient="horz" pos="3064" userDrawn="1">
          <p15:clr>
            <a:srgbClr val="A4A4A4"/>
          </p15:clr>
        </p15:guide>
        <p15:guide id="22" orient="horz" pos="312" userDrawn="1">
          <p15:clr>
            <a:srgbClr val="A4A4A4"/>
          </p15:clr>
        </p15:guide>
        <p15:guide id="23" orient="horz" pos="2576" userDrawn="1">
          <p15:clr>
            <a:srgbClr val="A4A4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BDE1D68A-994A-4820-BF03-0AD9C65A337F}"/>
              </a:ext>
            </a:extLst>
          </p:cNvPr>
          <p:cNvGrpSpPr>
            <a:grpSpLocks/>
          </p:cNvGrpSpPr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1EF77CC-81B1-4470-80C3-525625BF713E}"/>
                </a:ext>
              </a:extLst>
            </p:cNvPr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3DD88A6-37E5-43E3-9F0C-C21AC942E0B6}"/>
                </a:ext>
              </a:extLst>
            </p:cNvPr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E2CA91F-5EA4-4537-9362-920AA42B7321}"/>
                </a:ext>
              </a:extLst>
            </p:cNvPr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EC991D8-C3A5-49B8-92EB-E5E73B6672F0}"/>
                </a:ext>
              </a:extLst>
            </p:cNvPr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598D21-6C89-44C5-9728-0CFA47CD4CCA}"/>
                </a:ext>
              </a:extLst>
            </p:cNvPr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332B4E4-5ED4-47F9-8FE8-B0DDF2A221CD}"/>
                </a:ext>
              </a:extLst>
            </p:cNvPr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10FE130-71CA-465B-9F2A-78DA14385D58}"/>
                </a:ext>
              </a:extLst>
            </p:cNvPr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17120F1-89F3-43A8-B18C-D8CF81007549}"/>
                </a:ext>
              </a:extLst>
            </p:cNvPr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C31A1F5-F6DA-4FDA-BE1A-8216242BFC7B}"/>
                </a:ext>
              </a:extLst>
            </p:cNvPr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ECEC56A-8DA8-4C81-8A4F-79C5D1649B12}"/>
                </a:ext>
              </a:extLst>
            </p:cNvPr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ABB5854-1B69-4DF4-A570-0C57C2599F5D}"/>
                </a:ext>
              </a:extLst>
            </p:cNvPr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A9A095E-9280-4BCE-BD6B-6F4A7B7C5266}"/>
                </a:ext>
              </a:extLst>
            </p:cNvPr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330F9EA-BE8B-47A9-A0C2-B8CFB3729F77}"/>
                </a:ext>
              </a:extLst>
            </p:cNvPr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</p:grpSp>
      <p:grpSp>
        <p:nvGrpSpPr>
          <p:cNvPr id="28" name="Grid" hidden="1">
            <a:extLst>
              <a:ext uri="{FF2B5EF4-FFF2-40B4-BE49-F238E27FC236}">
                <a16:creationId xmlns:a16="http://schemas.microsoft.com/office/drawing/2014/main" id="{D25E9C7D-198D-4839-9773-AA1DA35A2102}"/>
              </a:ext>
            </a:extLst>
          </p:cNvPr>
          <p:cNvGrpSpPr>
            <a:grpSpLocks/>
          </p:cNvGrpSpPr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52CC2F-79DE-4907-A76A-6D0C85D1F127}"/>
                </a:ext>
              </a:extLst>
            </p:cNvPr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F04C49E-ABB4-4100-8476-BF47D359370C}"/>
                </a:ext>
              </a:extLst>
            </p:cNvPr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8767C1-807F-48E7-BEA3-59BDE2D00F09}"/>
                </a:ext>
              </a:extLst>
            </p:cNvPr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2FB8D6-20BE-4462-BABC-BEA36F217954}"/>
                </a:ext>
              </a:extLst>
            </p:cNvPr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E2F78A-8BBA-41D4-890B-68C4069AE5C3}"/>
                </a:ext>
              </a:extLst>
            </p:cNvPr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1588242-E004-4444-B3D3-B067E9853C62}"/>
                </a:ext>
              </a:extLst>
            </p:cNvPr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1F16449-C506-4E91-BB35-EFD972546409}"/>
                </a:ext>
              </a:extLst>
            </p:cNvPr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DBE2198-3B81-4D44-834B-EC903A4B89A1}"/>
                </a:ext>
              </a:extLst>
            </p:cNvPr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45A6B22-2D89-4161-8450-82E83D170C24}"/>
                </a:ext>
              </a:extLst>
            </p:cNvPr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C9E3769-0AF1-4574-834E-2320AAD52D93}"/>
                </a:ext>
              </a:extLst>
            </p:cNvPr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D6F364D-6D45-4B78-8994-CC8B1067C387}"/>
                </a:ext>
              </a:extLst>
            </p:cNvPr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900" y="1052513"/>
            <a:ext cx="8564587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5" y="4828510"/>
            <a:ext cx="5902923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28510"/>
            <a:ext cx="355607" cy="13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CA4F33B-2A5C-4874-B5D7-74DA77ECCD3C}" type="slidenum">
              <a:rPr lang="en-US" smtClean="0"/>
              <a:t>‹#›</a:t>
            </a:fld>
            <a:endParaRPr lang="en-US"/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7804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727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</p:sldLayoutIdLst>
  <p:hf hdr="0" dt="0"/>
  <p:txStyles>
    <p:titleStyle>
      <a:lvl1pPr algn="l" defTabSz="171440" rtl="0" eaLnBrk="1" latinLnBrk="0" hangingPunct="1">
        <a:lnSpc>
          <a:spcPct val="100000"/>
        </a:lnSpc>
        <a:spcBef>
          <a:spcPct val="0"/>
        </a:spcBef>
        <a:buNone/>
        <a:defRPr sz="2100" b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40" rtl="0" eaLnBrk="1" latinLnBrk="0" hangingPunct="1">
        <a:lnSpc>
          <a:spcPct val="100000"/>
        </a:lnSpc>
        <a:spcBef>
          <a:spcPts val="1200"/>
        </a:spcBef>
        <a:buFont typeface="Verdana" pitchFamily="34" charset="0"/>
        <a:buNone/>
        <a:defRPr sz="1200" b="0" kern="1200" spc="0" baseline="0">
          <a:solidFill>
            <a:schemeClr val="tx1"/>
          </a:solidFill>
          <a:latin typeface="Graphik Semibold" panose="020B0703030202060203" pitchFamily="34" charset="0"/>
          <a:ea typeface="+mn-ea"/>
          <a:cs typeface="+mn-cs"/>
        </a:defRPr>
      </a:lvl1pPr>
      <a:lvl2pPr marL="0" indent="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200" b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3716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27432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11480" indent="-137160" algn="l" defTabSz="17144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◦"/>
        <a:defRPr sz="12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832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11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90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9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9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7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6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5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7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5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8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A4A4A4"/>
          </p15:clr>
        </p15:guide>
        <p15:guide id="2" orient="horz" pos="1624">
          <p15:clr>
            <a:srgbClr val="A4A4A4"/>
          </p15:clr>
        </p15:guide>
        <p15:guide id="3" orient="horz" pos="664">
          <p15:clr>
            <a:srgbClr val="A4A4A4"/>
          </p15:clr>
        </p15:guide>
        <p15:guide id="4" orient="horz" pos="448">
          <p15:clr>
            <a:srgbClr val="A4A4A4"/>
          </p15:clr>
        </p15:guide>
        <p15:guide id="5" orient="horz" pos="184">
          <p15:clr>
            <a:srgbClr val="A4A4A4"/>
          </p15:clr>
        </p15:guide>
        <p15:guide id="6" orient="horz" pos="2480">
          <p15:clr>
            <a:srgbClr val="A4A4A4"/>
          </p15:clr>
        </p15:guide>
        <p15:guide id="7" orient="horz" pos="2880">
          <p15:clr>
            <a:srgbClr val="A4A4A4"/>
          </p15:clr>
        </p15:guide>
        <p15:guide id="8" orient="horz" pos="3112">
          <p15:clr>
            <a:srgbClr val="A4A4A4"/>
          </p15:clr>
        </p15:guide>
        <p15:guide id="9" pos="184">
          <p15:clr>
            <a:srgbClr val="A4A4A4"/>
          </p15:clr>
        </p15:guide>
        <p15:guide id="10" pos="928">
          <p15:clr>
            <a:srgbClr val="A4A4A4"/>
          </p15:clr>
        </p15:guide>
        <p15:guide id="11" pos="1112">
          <p15:clr>
            <a:srgbClr val="A4A4A4"/>
          </p15:clr>
        </p15:guide>
        <p15:guide id="12" pos="1864">
          <p15:clr>
            <a:srgbClr val="A4A4A4"/>
          </p15:clr>
        </p15:guide>
        <p15:guide id="13" pos="2040">
          <p15:clr>
            <a:srgbClr val="A4A4A4"/>
          </p15:clr>
        </p15:guide>
        <p15:guide id="14" pos="2792">
          <p15:clr>
            <a:srgbClr val="A4A4A4"/>
          </p15:clr>
        </p15:guide>
        <p15:guide id="15" pos="2968">
          <p15:clr>
            <a:srgbClr val="A4A4A4"/>
          </p15:clr>
        </p15:guide>
        <p15:guide id="16" pos="3720">
          <p15:clr>
            <a:srgbClr val="A4A4A4"/>
          </p15:clr>
        </p15:guide>
        <p15:guide id="17" pos="3896">
          <p15:clr>
            <a:srgbClr val="A4A4A4"/>
          </p15:clr>
        </p15:guide>
        <p15:guide id="18" pos="4648">
          <p15:clr>
            <a:srgbClr val="A4A4A4"/>
          </p15:clr>
        </p15:guide>
        <p15:guide id="19" pos="4832">
          <p15:clr>
            <a:srgbClr val="A4A4A4"/>
          </p15:clr>
        </p15:guide>
        <p15:guide id="20" pos="5576">
          <p15:clr>
            <a:srgbClr val="A4A4A4"/>
          </p15:clr>
        </p15:guide>
        <p15:guide id="21" orient="horz" pos="3064">
          <p15:clr>
            <a:srgbClr val="A4A4A4"/>
          </p15:clr>
        </p15:guide>
        <p15:guide id="22" orient="horz" pos="312">
          <p15:clr>
            <a:srgbClr val="A4A4A4"/>
          </p15:clr>
        </p15:guide>
        <p15:guide id="23" orient="horz" pos="2576">
          <p15:clr>
            <a:srgbClr val="A4A4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BDE1D68A-994A-4820-BF03-0AD9C65A337F}"/>
              </a:ext>
            </a:extLst>
          </p:cNvPr>
          <p:cNvGrpSpPr>
            <a:grpSpLocks/>
          </p:cNvGrpSpPr>
          <p:nvPr/>
        </p:nvGrpSpPr>
        <p:grpSpPr>
          <a:xfrm>
            <a:off x="0" y="-322216"/>
            <a:ext cx="9143999" cy="84808"/>
            <a:chOff x="0" y="-429622"/>
            <a:chExt cx="12191999" cy="1130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1EF77CC-81B1-4470-80C3-525625BF713E}"/>
                </a:ext>
              </a:extLst>
            </p:cNvPr>
            <p:cNvSpPr/>
            <p:nvPr userDrawn="1"/>
          </p:nvSpPr>
          <p:spPr>
            <a:xfrm flipV="1">
              <a:off x="407152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3DD88A6-37E5-43E3-9F0C-C21AC942E0B6}"/>
                </a:ext>
              </a:extLst>
            </p:cNvPr>
            <p:cNvSpPr/>
            <p:nvPr userDrawn="1"/>
          </p:nvSpPr>
          <p:spPr>
            <a:xfrm flipV="1">
              <a:off x="794046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E2CA91F-5EA4-4537-9362-920AA42B7321}"/>
                </a:ext>
              </a:extLst>
            </p:cNvPr>
            <p:cNvSpPr/>
            <p:nvPr userDrawn="1"/>
          </p:nvSpPr>
          <p:spPr>
            <a:xfrm flipV="1">
              <a:off x="310429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EC991D8-C3A5-49B8-92EB-E5E73B6672F0}"/>
                </a:ext>
              </a:extLst>
            </p:cNvPr>
            <p:cNvSpPr/>
            <p:nvPr userDrawn="1"/>
          </p:nvSpPr>
          <p:spPr>
            <a:xfrm flipV="1">
              <a:off x="213705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598D21-6C89-44C5-9728-0CFA47CD4CCA}"/>
                </a:ext>
              </a:extLst>
            </p:cNvPr>
            <p:cNvSpPr/>
            <p:nvPr userDrawn="1"/>
          </p:nvSpPr>
          <p:spPr>
            <a:xfrm flipV="1">
              <a:off x="116982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332B4E4-5ED4-47F9-8FE8-B0DDF2A221CD}"/>
                </a:ext>
              </a:extLst>
            </p:cNvPr>
            <p:cNvSpPr/>
            <p:nvPr userDrawn="1"/>
          </p:nvSpPr>
          <p:spPr>
            <a:xfrm flipV="1">
              <a:off x="0" y="-427119"/>
              <a:ext cx="382587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10FE130-71CA-465B-9F2A-78DA14385D58}"/>
                </a:ext>
              </a:extLst>
            </p:cNvPr>
            <p:cNvSpPr/>
            <p:nvPr userDrawn="1"/>
          </p:nvSpPr>
          <p:spPr>
            <a:xfrm flipV="1">
              <a:off x="503876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17120F1-89F3-43A8-B18C-D8CF81007549}"/>
                </a:ext>
              </a:extLst>
            </p:cNvPr>
            <p:cNvSpPr/>
            <p:nvPr userDrawn="1"/>
          </p:nvSpPr>
          <p:spPr>
            <a:xfrm flipV="1">
              <a:off x="600599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C31A1F5-F6DA-4FDA-BE1A-8216242BFC7B}"/>
                </a:ext>
              </a:extLst>
            </p:cNvPr>
            <p:cNvSpPr/>
            <p:nvPr userDrawn="1"/>
          </p:nvSpPr>
          <p:spPr>
            <a:xfrm flipV="1">
              <a:off x="697323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ECEC56A-8DA8-4C81-8A4F-79C5D1649B12}"/>
                </a:ext>
              </a:extLst>
            </p:cNvPr>
            <p:cNvSpPr/>
            <p:nvPr userDrawn="1"/>
          </p:nvSpPr>
          <p:spPr>
            <a:xfrm flipV="1">
              <a:off x="890770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ABB5854-1B69-4DF4-A570-0C57C2599F5D}"/>
                </a:ext>
              </a:extLst>
            </p:cNvPr>
            <p:cNvSpPr/>
            <p:nvPr userDrawn="1"/>
          </p:nvSpPr>
          <p:spPr>
            <a:xfrm flipV="1">
              <a:off x="9874937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A9A095E-9280-4BCE-BD6B-6F4A7B7C5266}"/>
                </a:ext>
              </a:extLst>
            </p:cNvPr>
            <p:cNvSpPr/>
            <p:nvPr userDrawn="1"/>
          </p:nvSpPr>
          <p:spPr>
            <a:xfrm flipV="1">
              <a:off x="10842172" y="-429622"/>
              <a:ext cx="180000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330F9EA-BE8B-47A9-A0C2-B8CFB3729F77}"/>
                </a:ext>
              </a:extLst>
            </p:cNvPr>
            <p:cNvSpPr/>
            <p:nvPr userDrawn="1"/>
          </p:nvSpPr>
          <p:spPr>
            <a:xfrm flipV="1">
              <a:off x="11809413" y="-429622"/>
              <a:ext cx="382586" cy="1105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</p:grpSp>
      <p:grpSp>
        <p:nvGrpSpPr>
          <p:cNvPr id="28" name="Grid" hidden="1">
            <a:extLst>
              <a:ext uri="{FF2B5EF4-FFF2-40B4-BE49-F238E27FC236}">
                <a16:creationId xmlns:a16="http://schemas.microsoft.com/office/drawing/2014/main" id="{D25E9C7D-198D-4839-9773-AA1DA35A2102}"/>
              </a:ext>
            </a:extLst>
          </p:cNvPr>
          <p:cNvGrpSpPr>
            <a:grpSpLocks/>
          </p:cNvGrpSpPr>
          <p:nvPr/>
        </p:nvGrpSpPr>
        <p:grpSpPr>
          <a:xfrm>
            <a:off x="-141515" y="-137518"/>
            <a:ext cx="9285515" cy="5281017"/>
            <a:chOff x="-188687" y="-183357"/>
            <a:chExt cx="12380687" cy="704135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52CC2F-79DE-4907-A76A-6D0C85D1F127}"/>
                </a:ext>
              </a:extLst>
            </p:cNvPr>
            <p:cNvSpPr/>
            <p:nvPr userDrawn="1"/>
          </p:nvSpPr>
          <p:spPr>
            <a:xfrm>
              <a:off x="5904706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F04C49E-ABB4-4100-8476-BF47D359370C}"/>
                </a:ext>
              </a:extLst>
            </p:cNvPr>
            <p:cNvSpPr/>
            <p:nvPr userDrawn="1"/>
          </p:nvSpPr>
          <p:spPr>
            <a:xfrm>
              <a:off x="393647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8767C1-807F-48E7-BEA3-59BDE2D00F09}"/>
                </a:ext>
              </a:extLst>
            </p:cNvPr>
            <p:cNvSpPr/>
            <p:nvPr userDrawn="1"/>
          </p:nvSpPr>
          <p:spPr>
            <a:xfrm>
              <a:off x="1968235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2FB8D6-20BE-4462-BABC-BEA36F217954}"/>
                </a:ext>
              </a:extLst>
            </p:cNvPr>
            <p:cNvSpPr/>
            <p:nvPr userDrawn="1"/>
          </p:nvSpPr>
          <p:spPr>
            <a:xfrm>
              <a:off x="0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E2F78A-8BBA-41D4-890B-68C4069AE5C3}"/>
                </a:ext>
              </a:extLst>
            </p:cNvPr>
            <p:cNvSpPr/>
            <p:nvPr userDrawn="1"/>
          </p:nvSpPr>
          <p:spPr>
            <a:xfrm>
              <a:off x="11809413" y="-183356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1588242-E004-4444-B3D3-B067E9853C62}"/>
                </a:ext>
              </a:extLst>
            </p:cNvPr>
            <p:cNvSpPr/>
            <p:nvPr userDrawn="1"/>
          </p:nvSpPr>
          <p:spPr>
            <a:xfrm>
              <a:off x="9841176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1F16449-C506-4E91-BB35-EFD972546409}"/>
                </a:ext>
              </a:extLst>
            </p:cNvPr>
            <p:cNvSpPr/>
            <p:nvPr userDrawn="1"/>
          </p:nvSpPr>
          <p:spPr>
            <a:xfrm>
              <a:off x="7872941" y="-183357"/>
              <a:ext cx="382587" cy="15287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DBE2198-3B81-4D44-834B-EC903A4B89A1}"/>
                </a:ext>
              </a:extLst>
            </p:cNvPr>
            <p:cNvSpPr/>
            <p:nvPr userDrawn="1"/>
          </p:nvSpPr>
          <p:spPr>
            <a:xfrm>
              <a:off x="-188687" y="388938"/>
              <a:ext cx="90311" cy="496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45A6B22-2D89-4161-8450-82E83D170C24}"/>
                </a:ext>
              </a:extLst>
            </p:cNvPr>
            <p:cNvSpPr/>
            <p:nvPr userDrawn="1"/>
          </p:nvSpPr>
          <p:spPr>
            <a:xfrm>
              <a:off x="-188687" y="1403350"/>
              <a:ext cx="90311" cy="36893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C9E3769-0AF1-4574-834E-2320AAD52D93}"/>
                </a:ext>
              </a:extLst>
            </p:cNvPr>
            <p:cNvSpPr/>
            <p:nvPr userDrawn="1"/>
          </p:nvSpPr>
          <p:spPr>
            <a:xfrm>
              <a:off x="-188687" y="6096001"/>
              <a:ext cx="90311" cy="357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D6F364D-6D45-4B78-8994-CC8B1067C387}"/>
                </a:ext>
              </a:extLst>
            </p:cNvPr>
            <p:cNvSpPr/>
            <p:nvPr userDrawn="1"/>
          </p:nvSpPr>
          <p:spPr>
            <a:xfrm>
              <a:off x="-188687" y="6586538"/>
              <a:ext cx="90311" cy="27146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type="body" idx="1"/>
          </p:nvPr>
        </p:nvSpPr>
        <p:spPr>
          <a:xfrm>
            <a:off x="288131" y="1052513"/>
            <a:ext cx="8568929" cy="35194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 (14-1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63116" y="4843422"/>
            <a:ext cx="3240000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ptional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1452" y="4843422"/>
            <a:ext cx="355607" cy="1365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50" b="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B0D8026B-E60C-4F31-BD3E-34D786A82026}" type="slidenum">
              <a:rPr lang="en-US" smtClean="0"/>
              <a:t>‹#›</a:t>
            </a:fld>
            <a:endParaRPr lang="en-US"/>
          </a:p>
        </p:txBody>
      </p:sp>
      <p:pic>
        <p:nvPicPr>
          <p:cNvPr id="40" name="图片 39"/>
          <p:cNvPicPr>
            <a:picLocks noChangeAspect="1"/>
          </p:cNvPicPr>
          <p:nvPr userDrawn="1"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900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</p:sldLayoutIdLst>
  <p:hf hdr="0" dt="0"/>
  <p:txStyles>
    <p:titleStyle>
      <a:lvl1pPr algn="l" defTabSz="171440" rtl="0" eaLnBrk="1" latinLnBrk="0" hangingPunct="1">
        <a:lnSpc>
          <a:spcPct val="90000"/>
        </a:lnSpc>
        <a:spcBef>
          <a:spcPct val="0"/>
        </a:spcBef>
        <a:buNone/>
        <a:defRPr sz="1500" b="1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71440" rtl="0" eaLnBrk="1" latinLnBrk="0" hangingPunct="1">
        <a:spcBef>
          <a:spcPts val="450"/>
        </a:spcBef>
        <a:buFont typeface="Verdana" pitchFamily="34" charset="0"/>
        <a:buNone/>
        <a:defRPr sz="900" b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00013" indent="-100013" algn="l" defTabSz="171440" rtl="0" eaLnBrk="1" latinLnBrk="0" hangingPunct="1">
        <a:spcBef>
          <a:spcPts val="450"/>
        </a:spcBef>
        <a:buFont typeface="Arial" panose="020B0604020202020204" pitchFamily="34" charset="0"/>
        <a:buChar char="•"/>
        <a:defRPr sz="9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00025" indent="-100013" algn="l" defTabSz="171440" rtl="0" eaLnBrk="1" latinLnBrk="0" hangingPunct="1">
        <a:spcBef>
          <a:spcPts val="450"/>
        </a:spcBef>
        <a:buFont typeface="Arial" panose="020B0604020202020204" pitchFamily="34" charset="0"/>
        <a:buChar char="–"/>
        <a:defRPr sz="9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00038" indent="-100013" algn="l" defTabSz="171440" rtl="0" eaLnBrk="1" latinLnBrk="0" hangingPunct="1">
        <a:spcBef>
          <a:spcPts val="450"/>
        </a:spcBef>
        <a:buFont typeface="Arial" panose="020B0604020202020204" pitchFamily="34" charset="0"/>
        <a:buChar char="–"/>
        <a:defRPr sz="82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407194" indent="-107156" algn="l" defTabSz="171440" rtl="0" eaLnBrk="1" latinLnBrk="0" hangingPunct="1">
        <a:spcBef>
          <a:spcPts val="450"/>
        </a:spcBef>
        <a:buFont typeface="Arial" panose="020B0604020202020204" pitchFamily="34" charset="0"/>
        <a:buChar char="–"/>
        <a:defRPr sz="82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832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11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90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9" indent="-171440" algn="l" defTabSz="6857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9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7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6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5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73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50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8" algn="l" defTabSz="6857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A4A4A4"/>
          </p15:clr>
        </p15:guide>
        <p15:guide id="2" orient="horz" pos="1624">
          <p15:clr>
            <a:srgbClr val="A4A4A4"/>
          </p15:clr>
        </p15:guide>
        <p15:guide id="3" orient="horz" pos="664">
          <p15:clr>
            <a:srgbClr val="A4A4A4"/>
          </p15:clr>
        </p15:guide>
        <p15:guide id="4" orient="horz" pos="400">
          <p15:clr>
            <a:srgbClr val="A4A4A4"/>
          </p15:clr>
        </p15:guide>
        <p15:guide id="5" orient="horz" pos="184">
          <p15:clr>
            <a:srgbClr val="A4A4A4"/>
          </p15:clr>
        </p15:guide>
        <p15:guide id="6" orient="horz" pos="2480">
          <p15:clr>
            <a:srgbClr val="A4A4A4"/>
          </p15:clr>
        </p15:guide>
        <p15:guide id="7" orient="horz" pos="2880">
          <p15:clr>
            <a:srgbClr val="A4A4A4"/>
          </p15:clr>
        </p15:guide>
        <p15:guide id="8" orient="horz" pos="3112">
          <p15:clr>
            <a:srgbClr val="A4A4A4"/>
          </p15:clr>
        </p15:guide>
        <p15:guide id="9" pos="184">
          <p15:clr>
            <a:srgbClr val="A4A4A4"/>
          </p15:clr>
        </p15:guide>
        <p15:guide id="10" pos="928">
          <p15:clr>
            <a:srgbClr val="A4A4A4"/>
          </p15:clr>
        </p15:guide>
        <p15:guide id="11" pos="1112">
          <p15:clr>
            <a:srgbClr val="A4A4A4"/>
          </p15:clr>
        </p15:guide>
        <p15:guide id="12" pos="1864">
          <p15:clr>
            <a:srgbClr val="A4A4A4"/>
          </p15:clr>
        </p15:guide>
        <p15:guide id="13" pos="2040">
          <p15:clr>
            <a:srgbClr val="A4A4A4"/>
          </p15:clr>
        </p15:guide>
        <p15:guide id="14" pos="2792">
          <p15:clr>
            <a:srgbClr val="A4A4A4"/>
          </p15:clr>
        </p15:guide>
        <p15:guide id="15" pos="2968">
          <p15:clr>
            <a:srgbClr val="A4A4A4"/>
          </p15:clr>
        </p15:guide>
        <p15:guide id="16" pos="3720">
          <p15:clr>
            <a:srgbClr val="A4A4A4"/>
          </p15:clr>
        </p15:guide>
        <p15:guide id="17" pos="3896">
          <p15:clr>
            <a:srgbClr val="A4A4A4"/>
          </p15:clr>
        </p15:guide>
        <p15:guide id="18" pos="4648">
          <p15:clr>
            <a:srgbClr val="A4A4A4"/>
          </p15:clr>
        </p15:guide>
        <p15:guide id="19" pos="4832">
          <p15:clr>
            <a:srgbClr val="A4A4A4"/>
          </p15:clr>
        </p15:guide>
        <p15:guide id="20" pos="5576">
          <p15:clr>
            <a:srgbClr val="A4A4A4"/>
          </p15:clr>
        </p15:guide>
        <p15:guide id="21" orient="horz" pos="3064">
          <p15:clr>
            <a:srgbClr val="A4A4A4"/>
          </p15:clr>
        </p15:guide>
        <p15:guide id="22" orient="horz" pos="264">
          <p15:clr>
            <a:srgbClr val="A4A4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18.xml"/><Relationship Id="rId7" Type="http://schemas.openxmlformats.org/officeDocument/2006/relationships/chart" Target="../charts/chart1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9.xml"/><Relationship Id="rId10" Type="http://schemas.openxmlformats.org/officeDocument/2006/relationships/chart" Target="../charts/chart17.xml"/><Relationship Id="rId4" Type="http://schemas.openxmlformats.org/officeDocument/2006/relationships/tags" Target="../tags/tag19.xml"/><Relationship Id="rId9" Type="http://schemas.openxmlformats.org/officeDocument/2006/relationships/chart" Target="../charts/chart1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34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g"/><Relationship Id="rId3" Type="http://schemas.openxmlformats.org/officeDocument/2006/relationships/tags" Target="../tags/tag21.xml"/><Relationship Id="rId7" Type="http://schemas.openxmlformats.org/officeDocument/2006/relationships/image" Target="../media/image5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.png"/></Relationships>
</file>

<file path=ppt/slides/_rels/slide6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3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3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5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3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hyperlink" Target="file:///\\xfile.igwfmc.com\igwfiles\&#24066;&#22330;&#29255;\&#24066;&#22330;&#26381;&#21153;&#37096;\&#20844;&#20849;&#30424;\&#26032;VI" TargetMode="External"/><Relationship Id="rId3" Type="http://schemas.openxmlformats.org/officeDocument/2006/relationships/image" Target="../media/image59.svg"/><Relationship Id="rId7" Type="http://schemas.openxmlformats.org/officeDocument/2006/relationships/image" Target="../media/image63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hyperlink" Target="file:///\\xfile.igwfmc.com\igwfiles\&#24066;&#22330;&#29255;\&#24066;&#22330;&#26381;&#21153;&#37096;\&#20844;&#20849;&#30424;\&#26032;VI" TargetMode="Externa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6.emf"/><Relationship Id="rId4" Type="http://schemas.openxmlformats.org/officeDocument/2006/relationships/image" Target="../media/image65.emf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3A218DD-9F3D-4AA2-BC6E-38CA7ABE2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+mn-lt"/>
                <a:ea typeface="+mn-ea"/>
              </a:rPr>
              <a:t>2023</a:t>
            </a:r>
            <a:r>
              <a:rPr lang="zh-CN" altLang="en-US" sz="3200" dirty="0">
                <a:latin typeface="+mn-lt"/>
                <a:ea typeface="+mn-ea"/>
              </a:rPr>
              <a:t>年暑期实习答辩</a:t>
            </a:r>
            <a:endParaRPr lang="en-US" sz="2800" dirty="0">
              <a:latin typeface="+mn-lt"/>
              <a:ea typeface="+mn-ea"/>
            </a:endParaRP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CB8FF613-33BE-441C-8850-F721F8CB11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sz="1200" dirty="0"/>
              <a:t>日期（</a:t>
            </a:r>
            <a:r>
              <a:rPr lang="en-US" altLang="zh-CN" sz="1200" dirty="0"/>
              <a:t>12</a:t>
            </a:r>
            <a:r>
              <a:rPr lang="zh-CN" altLang="en-US" sz="1200" dirty="0"/>
              <a:t>，不加粗）</a:t>
            </a:r>
            <a:endParaRPr lang="en-GB" sz="12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683E96-C10A-42BB-96E3-17205362448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0" algn="r"/>
            <a:r>
              <a:rPr lang="zh-CN" altLang="en-US"/>
              <a:t>本材料仅供内部交流使用，不视为宣传推介材料，禁止任何形式的对外发放。</a:t>
            </a:r>
            <a:endParaRPr lang="zh-CN" altLang="en-US" dirty="0"/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93A218DD-9F3D-4AA2-BC6E-38CA7ABE22A7}"/>
              </a:ext>
            </a:extLst>
          </p:cNvPr>
          <p:cNvSpPr txBox="1">
            <a:spLocks/>
          </p:cNvSpPr>
          <p:nvPr/>
        </p:nvSpPr>
        <p:spPr>
          <a:xfrm>
            <a:off x="292100" y="1483813"/>
            <a:ext cx="5900763" cy="5132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7144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300" b="0" kern="1200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dirty="0">
                <a:latin typeface="+mn-lt"/>
                <a:ea typeface="+mn-ea"/>
              </a:rPr>
              <a:t>副标题（</a:t>
            </a:r>
            <a:r>
              <a:rPr lang="en-US" altLang="zh-CN" sz="2400" dirty="0">
                <a:latin typeface="+mn-lt"/>
                <a:ea typeface="+mn-ea"/>
              </a:rPr>
              <a:t>24</a:t>
            </a:r>
            <a:r>
              <a:rPr lang="zh-CN" altLang="en-US" sz="2400" dirty="0">
                <a:latin typeface="+mn-lt"/>
                <a:ea typeface="+mn-ea"/>
              </a:rPr>
              <a:t>，不加粗）</a:t>
            </a:r>
            <a:endParaRPr lang="en-US" sz="2400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23712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2B47BA-EC45-4154-AA6A-1FA42A994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6ED7B-FC2F-48AE-BB5E-EB3E352B9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D6A186-29F6-469A-ABCD-C15ECAC1B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68" lvl="2" indent="-102868" defTabSz="128577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35" lvl="3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03" lvl="4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>
            <a:extLst>
              <a:ext uri="{FF2B5EF4-FFF2-40B4-BE49-F238E27FC236}">
                <a16:creationId xmlns:a16="http://schemas.microsoft.com/office/drawing/2014/main" id="{9C70D78A-6D50-41D9-9AA3-3DD965A53F72}"/>
              </a:ext>
            </a:extLst>
          </p:cNvPr>
          <p:cNvSpPr txBox="1">
            <a:spLocks/>
          </p:cNvSpPr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>
            <a:extLst>
              <a:ext uri="{FF2B5EF4-FFF2-40B4-BE49-F238E27FC236}">
                <a16:creationId xmlns:a16="http://schemas.microsoft.com/office/drawing/2014/main" id="{4BEC6F8C-E1AF-4B67-9265-798DF23D31C3}"/>
              </a:ext>
            </a:extLst>
          </p:cNvPr>
          <p:cNvSpPr txBox="1">
            <a:spLocks/>
          </p:cNvSpPr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4" name="3" hidden="1">
            <a:extLst>
              <a:ext uri="{FF2B5EF4-FFF2-40B4-BE49-F238E27FC236}">
                <a16:creationId xmlns:a16="http://schemas.microsoft.com/office/drawing/2014/main" id="{A4014955-50A8-43CF-8A5A-3AACAC6EA39F}"/>
              </a:ext>
            </a:extLst>
          </p:cNvPr>
          <p:cNvSpPr txBox="1">
            <a:spLocks/>
          </p:cNvSpPr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6" name="4" hidden="1">
            <a:extLst>
              <a:ext uri="{FF2B5EF4-FFF2-40B4-BE49-F238E27FC236}">
                <a16:creationId xmlns:a16="http://schemas.microsoft.com/office/drawing/2014/main" id="{B5B5957F-A5C1-42A6-BF8A-88F11142DA26}"/>
              </a:ext>
            </a:extLst>
          </p:cNvPr>
          <p:cNvSpPr txBox="1">
            <a:spLocks/>
          </p:cNvSpPr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7" name="5" hidden="1">
            <a:extLst>
              <a:ext uri="{FF2B5EF4-FFF2-40B4-BE49-F238E27FC236}">
                <a16:creationId xmlns:a16="http://schemas.microsoft.com/office/drawing/2014/main" id="{2AAA96B1-7BF3-44E5-BA15-ED1A4EC3D37E}"/>
              </a:ext>
            </a:extLst>
          </p:cNvPr>
          <p:cNvSpPr txBox="1">
            <a:spLocks/>
          </p:cNvSpPr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8" name="6" hidden="1">
            <a:extLst>
              <a:ext uri="{FF2B5EF4-FFF2-40B4-BE49-F238E27FC236}">
                <a16:creationId xmlns:a16="http://schemas.microsoft.com/office/drawing/2014/main" id="{CF9CE9E2-80FC-4BDF-8712-706313A38F3D}"/>
              </a:ext>
            </a:extLst>
          </p:cNvPr>
          <p:cNvSpPr txBox="1">
            <a:spLocks/>
          </p:cNvSpPr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9" name="7" hidden="1">
            <a:extLst>
              <a:ext uri="{FF2B5EF4-FFF2-40B4-BE49-F238E27FC236}">
                <a16:creationId xmlns:a16="http://schemas.microsoft.com/office/drawing/2014/main" id="{4CBACCAE-ACB4-4388-BCCF-5E03B3294D8F}"/>
              </a:ext>
            </a:extLst>
          </p:cNvPr>
          <p:cNvSpPr txBox="1">
            <a:spLocks/>
          </p:cNvSpPr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0" name="8" hidden="1">
            <a:extLst>
              <a:ext uri="{FF2B5EF4-FFF2-40B4-BE49-F238E27FC236}">
                <a16:creationId xmlns:a16="http://schemas.microsoft.com/office/drawing/2014/main" id="{D5B2C2D0-C973-4DC5-AFA4-73D4C4E72A02}"/>
              </a:ext>
            </a:extLst>
          </p:cNvPr>
          <p:cNvSpPr txBox="1">
            <a:spLocks/>
          </p:cNvSpPr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1" name="9" hidden="1">
            <a:extLst>
              <a:ext uri="{FF2B5EF4-FFF2-40B4-BE49-F238E27FC236}">
                <a16:creationId xmlns:a16="http://schemas.microsoft.com/office/drawing/2014/main" id="{EAEE306F-DCED-4F43-9560-EA875C9B91BB}"/>
              </a:ext>
            </a:extLst>
          </p:cNvPr>
          <p:cNvSpPr txBox="1">
            <a:spLocks/>
          </p:cNvSpPr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911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944BE217-269B-43C4-A1A2-23BC29B7A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DE72E12-F652-4A58-85F1-D3F7998BF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1</a:t>
            </a:fld>
            <a:endParaRPr lang="en-US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F75FD56D-D486-483A-8D25-A5CE5D13C0C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288131" y="1020604"/>
            <a:ext cx="8499734" cy="1241821"/>
          </a:xfrm>
        </p:spPr>
        <p:txBody>
          <a:bodyPr/>
          <a:lstStyle/>
          <a:p>
            <a:r>
              <a:rPr lang="zh-CN" altLang="en-US" dirty="0"/>
              <a:t>选取茅台最近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9</a:t>
            </a:r>
            <a:r>
              <a:rPr lang="zh-CN" altLang="en-US" dirty="0"/>
              <a:t>月</a:t>
            </a:r>
            <a:r>
              <a:rPr lang="en-US" altLang="zh-CN" dirty="0"/>
              <a:t>1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31</a:t>
            </a:r>
            <a:r>
              <a:rPr lang="zh-CN" altLang="en-US" dirty="0"/>
              <a:t>日）共</a:t>
            </a:r>
            <a:r>
              <a:rPr lang="en-US" altLang="zh-CN" dirty="0"/>
              <a:t>167986</a:t>
            </a:r>
            <a:r>
              <a:rPr lang="zh-CN" altLang="en-US" dirty="0"/>
              <a:t>条分钟级别数据实时预报个股买卖时，输入的是（</a:t>
            </a:r>
            <a:r>
              <a:rPr lang="en-US" altLang="zh-CN" dirty="0"/>
              <a:t>167986</a:t>
            </a:r>
            <a:r>
              <a:rPr lang="zh-CN" altLang="en-US" dirty="0"/>
              <a:t>，</a:t>
            </a:r>
            <a:r>
              <a:rPr lang="en-US" altLang="zh-CN" dirty="0"/>
              <a:t>5</a:t>
            </a:r>
            <a:r>
              <a:rPr lang="zh-CN" altLang="en-US" dirty="0"/>
              <a:t>）的数据，</a:t>
            </a:r>
            <a:r>
              <a:rPr lang="en-US" altLang="zh-CN" dirty="0"/>
              <a:t>5</a:t>
            </a:r>
            <a:r>
              <a:rPr lang="zh-CN" altLang="en-US" dirty="0"/>
              <a:t>就是股票的开高低收成交量，然后根据这</a:t>
            </a:r>
            <a:r>
              <a:rPr lang="en-US" altLang="zh-CN" dirty="0"/>
              <a:t>5</a:t>
            </a:r>
            <a:r>
              <a:rPr lang="zh-CN" altLang="en-US" dirty="0"/>
              <a:t>维数据衍生出</a:t>
            </a:r>
            <a:r>
              <a:rPr lang="en-US" altLang="zh-CN" dirty="0"/>
              <a:t>311</a:t>
            </a:r>
            <a:r>
              <a:rPr lang="zh-CN" altLang="en-US" dirty="0"/>
              <a:t>维技术指标，第二步过后</a:t>
            </a:r>
            <a:r>
              <a:rPr lang="en-US" altLang="zh-CN" dirty="0" err="1"/>
              <a:t>gethtpp</a:t>
            </a:r>
            <a:r>
              <a:rPr lang="zh-CN" altLang="en-US" dirty="0"/>
              <a:t>后，</a:t>
            </a:r>
            <a:r>
              <a:rPr lang="en-US" altLang="zh-CN" dirty="0"/>
              <a:t>df</a:t>
            </a:r>
            <a:r>
              <a:rPr lang="zh-CN" altLang="en-US" dirty="0"/>
              <a:t>的形状为（</a:t>
            </a:r>
            <a:r>
              <a:rPr lang="en-US" altLang="zh-CN" dirty="0"/>
              <a:t>167432</a:t>
            </a:r>
            <a:r>
              <a:rPr lang="zh-CN" altLang="en-US" dirty="0"/>
              <a:t>，</a:t>
            </a:r>
            <a:r>
              <a:rPr lang="en-US" altLang="zh-CN" dirty="0"/>
              <a:t>294</a:t>
            </a:r>
            <a:r>
              <a:rPr lang="zh-CN" altLang="en-US" dirty="0"/>
              <a:t>），右侧长度为</a:t>
            </a:r>
            <a:r>
              <a:rPr lang="en-US" altLang="zh-CN" dirty="0"/>
              <a:t>72</a:t>
            </a:r>
            <a:r>
              <a:rPr lang="zh-CN" altLang="en-US" dirty="0"/>
              <a:t>，左侧长度为</a:t>
            </a:r>
            <a:r>
              <a:rPr lang="en-US" altLang="zh-CN" dirty="0"/>
              <a:t>36</a:t>
            </a:r>
            <a:r>
              <a:rPr lang="zh-CN" altLang="en-US" dirty="0"/>
              <a:t>，</a:t>
            </a:r>
            <a:r>
              <a:rPr lang="en-US" altLang="zh-CN" dirty="0"/>
              <a:t>Y</a:t>
            </a:r>
            <a:r>
              <a:rPr lang="zh-CN" altLang="en-US" dirty="0"/>
              <a:t>的形状为</a:t>
            </a:r>
            <a:r>
              <a:rPr lang="en-US" altLang="zh-CN" dirty="0"/>
              <a:t>167432</a:t>
            </a:r>
            <a:r>
              <a:rPr lang="zh-CN" altLang="en-US" dirty="0"/>
              <a:t>，</a:t>
            </a:r>
            <a:r>
              <a:rPr lang="en-US" altLang="zh-CN" dirty="0"/>
              <a:t>3</a:t>
            </a:r>
            <a:r>
              <a:rPr lang="zh-CN" altLang="en-US" dirty="0"/>
              <a:t>。接下来计算变量之间的相关性：这能够决定哪些指标是好的，哪些指标是噪声，除此之外，我们还要筛选出“好的指标”，茅台有</a:t>
            </a:r>
            <a:r>
              <a:rPr lang="en-US" altLang="zh-CN" dirty="0"/>
              <a:t>87</a:t>
            </a:r>
            <a:r>
              <a:rPr lang="zh-CN" altLang="en-US" dirty="0"/>
              <a:t>个好指标，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3AB3ADEC-FB31-46D8-BCDF-7266592BE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交易信号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A2B577D4-A508-4D6A-9B45-C96D75826F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7691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2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.91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8D3B8EC1-669D-4398-9FE5-1F3262E2E2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29" y="1276632"/>
            <a:ext cx="1881850" cy="1456521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05210C76-CB57-45FF-859E-3E15D3BD29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503" y="1212847"/>
            <a:ext cx="2348347" cy="163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478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3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26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AB8CAB0-FE39-4706-BC7E-86E101FF44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72" y="1282629"/>
            <a:ext cx="2353086" cy="177814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42709E0-F16E-45F5-B05C-CA6836C6AA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636" y="1346006"/>
            <a:ext cx="2076863" cy="149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755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4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00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54579165-69C3-41C9-8BB8-A79E6DB894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380" y="1302357"/>
            <a:ext cx="1814920" cy="1376734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C9505653-E0CE-4EC4-9606-F3826AA57D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21" y="1302356"/>
            <a:ext cx="1692379" cy="124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323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5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65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B73F58DB-3F83-4975-B722-3A18B422A9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89" y="1234968"/>
            <a:ext cx="1991136" cy="1498185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31BE059B-AF95-450E-9FF8-BF9F1DB343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771" y="1132255"/>
            <a:ext cx="1932037" cy="1439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676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6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.98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E5E0A8F-8EAE-4AD0-A9F7-DF87FF9B0E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41" y="1333549"/>
            <a:ext cx="1600610" cy="1205654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851684DF-085C-4A30-B969-5EE3513DBA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102" y="1327574"/>
            <a:ext cx="1795874" cy="131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810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7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09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776B5A5D-B9DF-42C8-98DA-5BD8BAD946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54" y="1314021"/>
            <a:ext cx="1670634" cy="1257729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AAC9B658-2C66-45CB-9736-B49FA11B67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778" y="1301003"/>
            <a:ext cx="1857798" cy="1340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150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8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47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0545564-195F-4BD0-B679-CDF13D30BF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79" y="1015807"/>
            <a:ext cx="2257846" cy="1688043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0BB6D92-A197-4B32-97C8-1D704FCE12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476" y="1035780"/>
            <a:ext cx="2143796" cy="152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0899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19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63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8D66D1A-5577-4DFA-8906-ED0331F59A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06" y="1544855"/>
            <a:ext cx="1519758" cy="113378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9AB0937-8820-465C-9610-1EEF1C0F44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612" y="1469547"/>
            <a:ext cx="1886364" cy="1382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26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3A218DD-9F3D-4AA2-BC6E-38CA7ABE2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主标题（</a:t>
            </a:r>
            <a:r>
              <a:rPr lang="en-US" altLang="zh-CN" sz="3200" dirty="0"/>
              <a:t>32</a:t>
            </a:r>
            <a:r>
              <a:rPr lang="zh-CN" altLang="en-US" sz="3200" dirty="0"/>
              <a:t>，不加粗）</a:t>
            </a:r>
            <a:endParaRPr lang="en-US" sz="3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69F9F7-3306-4874-802C-09BBDA06FDE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0BA0BFA-66F2-41D5-9D96-AC3F165073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，限两行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（</a:t>
            </a:r>
            <a:r>
              <a:rPr lang="en-US" altLang="zh-CN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,</a:t>
            </a: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不加粗）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CB8FF613-33BE-441C-8850-F721F8CB11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D11C83-8B0E-4961-BC48-C526199D5BA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19965AC-247C-44E5-93CA-E594EF7044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4CE158-206D-43C6-A488-CD39AB5CD13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lvl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内容简介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2"/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页码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7C0755-F6E9-4D9E-B5FA-C1158004741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lang="en-US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4567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0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4.84</a:t>
            </a: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CBADC04-1C9E-41F4-9732-B8D4EDEDE1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1294729"/>
            <a:ext cx="1710159" cy="1283294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A1AF703-6BA7-4EE0-94E1-9BF983F34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919" y="1355798"/>
            <a:ext cx="1929231" cy="139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6944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1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4361254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2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6116374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3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1128501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4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6815636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5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852457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6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2293959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7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3017001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8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601669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29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146563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3A218DD-9F3D-4AA2-BC6E-38CA7ABE2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3200" dirty="0"/>
              <a:t>主标题（</a:t>
            </a:r>
            <a:r>
              <a:rPr lang="en-US" altLang="zh-CN" sz="3200" dirty="0"/>
              <a:t>32</a:t>
            </a:r>
            <a:r>
              <a:rPr lang="zh-CN" altLang="en-US" sz="3200" dirty="0"/>
              <a:t>，不加粗）</a:t>
            </a:r>
            <a:endParaRPr lang="en-US" sz="3200" dirty="0"/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CB8FF613-33BE-441C-8850-F721F8CB1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8900" y="1557142"/>
            <a:ext cx="8568929" cy="457775"/>
          </a:xfrm>
        </p:spPr>
        <p:txBody>
          <a:bodyPr lIns="0" rIns="0" bIns="0"/>
          <a:lstStyle/>
          <a:p>
            <a:r>
              <a:rPr lang="zh-CN" altLang="en-US" sz="2400" dirty="0">
                <a:latin typeface="+mn-lt"/>
              </a:rPr>
              <a:t>副标题（</a:t>
            </a:r>
            <a:r>
              <a:rPr lang="en-US" altLang="zh-CN" sz="2400" dirty="0">
                <a:latin typeface="+mn-lt"/>
              </a:rPr>
              <a:t>24</a:t>
            </a:r>
            <a:r>
              <a:rPr lang="zh-CN" altLang="en-US" sz="2400" dirty="0">
                <a:latin typeface="+mn-lt"/>
              </a:rPr>
              <a:t>，不加粗）</a:t>
            </a:r>
            <a:endParaRPr lang="en-GB" sz="2400" dirty="0">
              <a:latin typeface="+mn-lt"/>
            </a:endParaRPr>
          </a:p>
          <a:p>
            <a:pPr lvl="1"/>
            <a:r>
              <a:rPr lang="en-GB" sz="1000" dirty="0"/>
              <a:t>2021</a:t>
            </a:r>
            <a:r>
              <a:rPr lang="zh-CN" altLang="en-US" sz="1000" dirty="0"/>
              <a:t>年</a:t>
            </a:r>
            <a:r>
              <a:rPr lang="en-US" altLang="zh-CN" sz="1000" dirty="0"/>
              <a:t>10</a:t>
            </a:r>
            <a:r>
              <a:rPr lang="zh-CN" altLang="en-US" sz="1000" dirty="0"/>
              <a:t>月</a:t>
            </a:r>
            <a:endParaRPr lang="en-US" sz="1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BDE473-12A8-40B4-B639-841BAF8B14B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sz="8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0BA0BFA-66F2-41D5-9D96-AC3F165073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lIns="0" rIns="0" bIns="0"/>
          <a:lstStyle/>
          <a:p>
            <a:r>
              <a:rPr lang="zh-CN" altLang="en-US" dirty="0"/>
              <a:t>姓名（</a:t>
            </a:r>
            <a:r>
              <a:rPr lang="en-US" altLang="zh-CN" dirty="0"/>
              <a:t>9</a:t>
            </a:r>
            <a:r>
              <a:rPr lang="zh-CN" altLang="en-US" dirty="0"/>
              <a:t>号，加粗）</a:t>
            </a:r>
            <a:endParaRPr lang="en-US" dirty="0"/>
          </a:p>
          <a:p>
            <a:pPr lvl="1"/>
            <a:r>
              <a:rPr lang="zh-CN" altLang="en-US" dirty="0"/>
              <a:t>职称（</a:t>
            </a:r>
            <a:r>
              <a:rPr lang="en-US" altLang="zh-CN" dirty="0"/>
              <a:t>9</a:t>
            </a:r>
            <a:r>
              <a:rPr lang="zh-CN" altLang="en-US" dirty="0"/>
              <a:t>号，不加粗）</a:t>
            </a:r>
            <a:endParaRPr lang="en-US" dirty="0"/>
          </a:p>
          <a:p>
            <a:r>
              <a:rPr lang="zh-CN" altLang="en-US" dirty="0"/>
              <a:t>姓名</a:t>
            </a:r>
            <a:endParaRPr lang="en-US" dirty="0"/>
          </a:p>
          <a:p>
            <a:pPr lvl="1"/>
            <a:r>
              <a:rPr lang="zh-CN" altLang="en-US" dirty="0"/>
              <a:t>职称</a:t>
            </a:r>
            <a:endParaRPr lang="en-US" dirty="0"/>
          </a:p>
          <a:p>
            <a:r>
              <a:rPr lang="zh-CN" altLang="en-US" dirty="0"/>
              <a:t>姓名</a:t>
            </a:r>
            <a:endParaRPr lang="en-US" altLang="zh-CN" dirty="0"/>
          </a:p>
          <a:p>
            <a:pPr lvl="1"/>
            <a:r>
              <a:rPr lang="zh-CN" altLang="en-US" dirty="0"/>
              <a:t>职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18257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0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1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9411831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1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12577508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2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1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9790725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3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2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15207522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4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3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2944794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5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4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25646440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6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5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13987284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7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4548123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8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7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3333695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39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8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3514560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48CA99-5AA7-4D11-B915-FD5D553302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9" name="Table 6">
            <a:extLst>
              <a:ext uri="{FF2B5EF4-FFF2-40B4-BE49-F238E27FC236}">
                <a16:creationId xmlns:a16="http://schemas.microsoft.com/office/drawing/2014/main" id="{34468E65-6B2C-423C-93CC-BEEBA42E796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808518322"/>
              </p:ext>
            </p:extLst>
          </p:nvPr>
        </p:nvGraphicFramePr>
        <p:xfrm>
          <a:off x="288925" y="1052513"/>
          <a:ext cx="8571442" cy="3034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0292">
                  <a:extLst>
                    <a:ext uri="{9D8B030D-6E8A-4147-A177-3AD203B41FA5}">
                      <a16:colId xmlns:a16="http://schemas.microsoft.com/office/drawing/2014/main" val="3227789308"/>
                    </a:ext>
                  </a:extLst>
                </a:gridCol>
                <a:gridCol w="6391150">
                  <a:extLst>
                    <a:ext uri="{9D8B030D-6E8A-4147-A177-3AD203B41FA5}">
                      <a16:colId xmlns:a16="http://schemas.microsoft.com/office/drawing/2014/main" val="2759584922"/>
                    </a:ext>
                  </a:extLst>
                </a:gridCol>
              </a:tblGrid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GB" sz="12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（</a:t>
                      </a:r>
                      <a:r>
                        <a:rPr lang="en-US" altLang="zh-CN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2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2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不加粗）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r>
                        <a:rPr lang="zh-CN" altLang="en-US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不加粗）</a:t>
                      </a: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6415133"/>
                  </a:ext>
                </a:extLst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65335"/>
                  </a:ext>
                </a:extLst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3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4109306"/>
                  </a:ext>
                </a:extLst>
              </a:tr>
              <a:tr h="758700">
                <a:tc>
                  <a:txBody>
                    <a:bodyPr/>
                    <a:lstStyle/>
                    <a:p>
                      <a:pPr marL="358775" indent="-358775" eaLnBrk="0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en-GB" sz="1200" b="1" kern="1200" spc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4	</a:t>
                      </a:r>
                      <a:r>
                        <a:rPr lang="zh-CN" altLang="en-US" sz="1200" b="1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标题一</a:t>
                      </a:r>
                      <a:endParaRPr lang="en-US" altLang="zh-CN" sz="1200" b="1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58775" indent="0" eaLnBrk="1">
                        <a:lnSpc>
                          <a:spcPct val="95000"/>
                        </a:lnSpc>
                        <a:tabLst>
                          <a:tab pos="358775" algn="l"/>
                        </a:tabLst>
                      </a:pPr>
                      <a:r>
                        <a:rPr lang="zh-CN" altLang="en-US" sz="1200" b="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二级标题</a:t>
                      </a:r>
                      <a:endParaRPr lang="en-US" altLang="zh-CN" sz="1200" b="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35100" marT="26325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</a:p>
                  </a:txBody>
                  <a:tcPr marL="35100" marR="35100" marT="40500" marB="351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18152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D81A9B-DE52-4AD9-970F-53826E651D6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E6A8A3-4C83-4C01-8ECA-2DF8118B3C8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4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3A3FB5-BDDC-454E-96C1-00DF3A1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目录页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GB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3153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0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29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9815399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1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30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17343115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C89ACECA-9A3F-4808-B0C3-9FA7DBA39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5FC71F3-9D02-4C7B-A61E-291B91EAF5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ED62A41-E611-40A8-A28B-BC0EBEFBCF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2</a:t>
            </a:fld>
            <a:endParaRPr lang="en-US"/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7621F455-276C-41F0-AA09-4A527113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</a:t>
            </a:r>
            <a:r>
              <a:rPr lang="zh-CN" altLang="en-US" dirty="0"/>
              <a:t>，已知过去三年（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24</a:t>
            </a:r>
            <a:r>
              <a:rPr lang="zh-CN" altLang="en-US" dirty="0"/>
              <a:t>日至</a:t>
            </a:r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）</a:t>
            </a:r>
            <a:r>
              <a:rPr lang="en-US" altLang="zh-CN" dirty="0"/>
              <a:t>9</a:t>
            </a:r>
            <a:r>
              <a:rPr lang="zh-CN" altLang="en-US" dirty="0"/>
              <a:t>：</a:t>
            </a:r>
            <a:r>
              <a:rPr lang="en-US" altLang="zh-CN" dirty="0"/>
              <a:t>31-10</a:t>
            </a:r>
            <a:r>
              <a:rPr lang="zh-CN" altLang="en-US" dirty="0"/>
              <a:t>：</a:t>
            </a:r>
            <a:r>
              <a:rPr lang="en-US" altLang="zh-CN" dirty="0"/>
              <a:t>00</a:t>
            </a:r>
            <a:r>
              <a:rPr lang="zh-CN" altLang="en-US" dirty="0"/>
              <a:t>收盘价数据预测</a:t>
            </a:r>
            <a:r>
              <a:rPr lang="en-US" altLang="zh-CN" dirty="0"/>
              <a:t>10</a:t>
            </a:r>
            <a:r>
              <a:rPr lang="zh-CN" altLang="en-US" dirty="0"/>
              <a:t>：</a:t>
            </a:r>
            <a:r>
              <a:rPr lang="en-US" altLang="zh-CN" dirty="0"/>
              <a:t>06</a:t>
            </a:r>
            <a:r>
              <a:rPr lang="zh-CN" altLang="en-US" dirty="0"/>
              <a:t>收盘价，样本外数据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至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，样本内至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13</a:t>
            </a:r>
            <a:r>
              <a:rPr lang="zh-CN" altLang="en-US" dirty="0"/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2DA8A73-A02C-4573-A8A8-3CAE94D3DA66}"/>
              </a:ext>
            </a:extLst>
          </p:cNvPr>
          <p:cNvSpPr txBox="1"/>
          <p:nvPr/>
        </p:nvSpPr>
        <p:spPr>
          <a:xfrm>
            <a:off x="1104900" y="2971800"/>
            <a:ext cx="510827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外股价</a:t>
            </a:r>
            <a:r>
              <a:rPr lang="en-US" altLang="zh-CN" dirty="0" err="1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ae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为</a:t>
            </a:r>
          </a:p>
        </p:txBody>
      </p:sp>
    </p:spTree>
    <p:extLst>
      <p:ext uri="{BB962C8B-B14F-4D97-AF65-F5344CB8AC3E}">
        <p14:creationId xmlns:p14="http://schemas.microsoft.com/office/powerpoint/2010/main" val="40043917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947A381-B674-43CC-A6CA-625338BC59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F7289A-7BF6-4D44-890D-B58F3F6638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900" y="1052513"/>
            <a:ext cx="8568929" cy="3036887"/>
          </a:xfrm>
        </p:spPr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方法：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GRU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（门控循环单元）</a:t>
            </a:r>
          </a:p>
          <a:p>
            <a:pPr lvl="2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55" lvl="2" indent="-182878" defTabSz="228597">
              <a:buFont typeface="Verdana" pitchFamily="34" charset="0"/>
              <a:buChar char="–"/>
            </a:pP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二级项目 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</a:t>
            </a: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号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5755" lvl="2" indent="-182878" defTabSz="228597">
              <a:buFont typeface="Verdana" pitchFamily="34" charset="0"/>
              <a:buChar char="–"/>
            </a:pPr>
            <a:endParaRPr lang="en-US" altLang="zh-CN" spc="-1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/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</a:p>
          <a:p>
            <a:pPr lvl="2"/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55" lvl="2" indent="-182878" defTabSz="228597">
              <a:buFont typeface="Verdana" pitchFamily="34" charset="0"/>
              <a:buChar char="–"/>
            </a:pP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二级项目 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</a:t>
            </a:r>
            <a:r>
              <a:rPr lang="zh-CN" altLang="en-US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号</a:t>
            </a:r>
            <a:r>
              <a:rPr lang="en-US" altLang="zh-CN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8D24F4-9F2B-4129-8F33-2938D8BE56F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C446D-1D64-4F03-AEB5-18EE93992C5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43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580794-E421-4A86-8FB5-BC66D1C7B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交易时点选择</a:t>
            </a:r>
            <a:br>
              <a:rPr lang="en-US" altLang="zh-CN" sz="1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模型展示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5582132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378024EB-53BC-46AB-A23D-1B91BBDE68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242671D-316C-4D00-8C3C-BA3A8BAAA3C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C43FE3C-766D-4E7D-BE96-6E4D1F6D03E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4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273AE53D-4025-4CAC-A4C8-83FC17361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茅台</a:t>
            </a:r>
            <a:r>
              <a:rPr lang="en-US" altLang="zh-CN" dirty="0"/>
              <a:t>600519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9CB199F-C927-4A0E-B5A2-D0D5C79BE68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68" y="1017851"/>
            <a:ext cx="3126071" cy="292749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3121A4F-EFFD-4990-A03A-FEB845EC50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3803" y="945131"/>
            <a:ext cx="1094361" cy="304439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3EDC4EB-5063-4A66-8292-9F30443564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099" y="945131"/>
            <a:ext cx="2492141" cy="1818722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0E664E7-9A93-458D-896C-4205EF95D937}"/>
              </a:ext>
            </a:extLst>
          </p:cNvPr>
          <p:cNvSpPr txBox="1"/>
          <p:nvPr/>
        </p:nvSpPr>
        <p:spPr>
          <a:xfrm>
            <a:off x="5838092" y="2935032"/>
            <a:ext cx="18279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样本内预测情况</a:t>
            </a:r>
          </a:p>
        </p:txBody>
      </p:sp>
    </p:spTree>
    <p:extLst>
      <p:ext uri="{BB962C8B-B14F-4D97-AF65-F5344CB8AC3E}">
        <p14:creationId xmlns:p14="http://schemas.microsoft.com/office/powerpoint/2010/main" val="329454101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3059F20A-5A32-4577-A0B7-A3F2399354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B1F1E13-EC03-4227-BCDA-14429CE9699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2B67A09-29A7-42F2-933F-D1E483580C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5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581A9EC9-E0AF-43C0-B512-CFAA94FE5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金山办公</a:t>
            </a:r>
            <a:r>
              <a:rPr lang="en-US" altLang="zh-CN" dirty="0"/>
              <a:t>688111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4" name="内容占位符 13">
            <a:extLst>
              <a:ext uri="{FF2B5EF4-FFF2-40B4-BE49-F238E27FC236}">
                <a16:creationId xmlns:a16="http://schemas.microsoft.com/office/drawing/2014/main" id="{42A7759D-FE36-42DD-80BB-25DB4B9A53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79" y="1314684"/>
            <a:ext cx="2086028" cy="1626743"/>
          </a:xfr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6E5A3C57-B499-4E67-8C4F-CCFAD4881D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49" y="1392927"/>
            <a:ext cx="1929995" cy="1421011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616EE937-C5C5-49F8-81A0-DE24B2ABE0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171" y="398958"/>
            <a:ext cx="1027263" cy="287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1651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80663627-2EFA-4A3D-B311-789AAEC208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D28096DC-9686-47EA-B0B2-982E2CD18C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70" y="1139600"/>
            <a:ext cx="2843917" cy="2211302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C6D9797-240A-4436-89FF-E8D220080EF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258E90C-456C-4882-9DD5-853B2A69B1B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6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B1C3233E-BD33-4170-92DE-FB786DD3B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浦发银行</a:t>
            </a:r>
            <a:r>
              <a:rPr lang="en-US" altLang="zh-CN" dirty="0"/>
              <a:t>600000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412512A5-8E61-4882-829F-91D05E915A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168" y="603997"/>
            <a:ext cx="911338" cy="273679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D970B00B-2303-4AB3-8055-B4ED5F5C38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290" y="1284002"/>
            <a:ext cx="1550699" cy="116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3812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F5C32672-CEBF-4F0C-8CE2-11D61B504D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4B6C2454-1EFE-4106-940C-DD9AA08E38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02" y="928368"/>
            <a:ext cx="2271018" cy="1685459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02A507E-4700-49B7-A199-6C8F06E0945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4FC1A68-0E32-45EA-A527-C099114AE2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7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0F1AA12-909C-4B27-86AD-4B013E063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白云机场</a:t>
            </a:r>
            <a:r>
              <a:rPr lang="en-US" altLang="zh-CN" dirty="0"/>
              <a:t>600004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D409BB8-333F-4F05-9536-10FBC6971C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464" y="900953"/>
            <a:ext cx="2356461" cy="183671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7C247B43-E671-49A5-9953-2D3E0D36C2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509" y="492369"/>
            <a:ext cx="924674" cy="2615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09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4A7B2C0-B772-468F-8E19-D864791995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71F9A0A8-397E-4058-92E9-BD6BDFD5B7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78" y="1196236"/>
            <a:ext cx="1750484" cy="1249473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F15743F-6F75-4B38-BA4F-DB3E45D01B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DCBB2AC-24FA-434C-BBBA-85488FD79E7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8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4DE19031-02BF-49E3-80C4-63C1418F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海科</a:t>
            </a:r>
            <a:r>
              <a:rPr lang="en-US" altLang="zh-CN" dirty="0"/>
              <a:t>B(</a:t>
            </a:r>
            <a:r>
              <a:rPr lang="zh-CN" altLang="en-US" dirty="0"/>
              <a:t>不太对）</a:t>
            </a:r>
            <a:r>
              <a:rPr lang="en-US" altLang="zh-CN" dirty="0"/>
              <a:t>900938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E37D8C4-6C6A-4D0C-B9CB-3B053613F4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377" y="931377"/>
            <a:ext cx="2749273" cy="204981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1C6F08E-286D-4330-9F04-1A8BEA8A48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265" y="402038"/>
            <a:ext cx="834317" cy="3108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19801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11D0A505-80C1-4FE2-B609-01C4168AC0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A8A485BB-2E0C-4A5A-94AB-37315BE889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53" y="1257135"/>
            <a:ext cx="1481682" cy="1134374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E86D166-46C5-4C65-8D11-1746CF6075A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7498397-7BE1-4947-B7A6-A3F366AFDCF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49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426481CB-D358-439A-8134-47FD1A2CC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德龙激光</a:t>
            </a:r>
            <a:r>
              <a:rPr lang="en-US" altLang="zh-CN" dirty="0"/>
              <a:t>688170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6CFDA9A-49E7-4049-B1EA-FB0D01B835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685" y="571976"/>
            <a:ext cx="2440501" cy="187575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96CC2A2-3568-4490-AE85-485E486BC4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205" y="629324"/>
            <a:ext cx="960314" cy="324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443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48CA99-5AA7-4D11-B915-FD5D553302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zh-CN" altLang="en-US" sz="1000" dirty="0">
                <a:solidFill>
                  <a:srgbClr val="D30547"/>
                </a:solidFill>
              </a:rPr>
              <a:t>该阴影区域将预留给注释及数据来源等内容</a:t>
            </a:r>
            <a:endParaRPr lang="en-US" altLang="zh-CN" sz="1000" dirty="0">
              <a:solidFill>
                <a:srgbClr val="D30547"/>
              </a:solidFill>
            </a:endParaRPr>
          </a:p>
        </p:txBody>
      </p:sp>
      <p:sp>
        <p:nvSpPr>
          <p:cNvPr id="2" name="内容占位符 1"/>
          <p:cNvSpPr>
            <a:spLocks noGrp="1"/>
          </p:cNvSpPr>
          <p:nvPr>
            <p:ph sz="quarter" idx="13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zh-CN" altLang="en-US" sz="1400" dirty="0">
                <a:solidFill>
                  <a:srgbClr val="D30547"/>
                </a:solidFill>
              </a:rPr>
              <a:t>该阴影区域将预留给幻灯片的主体内容</a:t>
            </a:r>
            <a:r>
              <a:rPr lang="en-US" altLang="zh-CN" sz="1400" dirty="0">
                <a:solidFill>
                  <a:srgbClr val="D30547"/>
                </a:solidFill>
              </a:rPr>
              <a:t>(</a:t>
            </a:r>
            <a:r>
              <a:rPr lang="zh-CN" altLang="en-US" sz="1400" dirty="0">
                <a:solidFill>
                  <a:srgbClr val="D30547"/>
                </a:solidFill>
              </a:rPr>
              <a:t>文本、图表、表格、图形等</a:t>
            </a:r>
            <a:r>
              <a:rPr lang="en-US" altLang="zh-CN" sz="1400" dirty="0">
                <a:solidFill>
                  <a:srgbClr val="D30547"/>
                </a:solidFill>
              </a:rPr>
              <a:t>)</a:t>
            </a:r>
            <a:r>
              <a:rPr lang="zh-CN" altLang="en-US" sz="1400" dirty="0">
                <a:solidFill>
                  <a:srgbClr val="D30547"/>
                </a:solidFill>
              </a:rPr>
              <a:t>。主体内容不应该超出这个阴影区域。</a:t>
            </a:r>
            <a:endParaRPr lang="en-US" altLang="zh-CN" sz="1400" dirty="0">
              <a:solidFill>
                <a:srgbClr val="D30547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D81A9B-DE52-4AD9-970F-53826E651D6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E6A8A3-4C83-4C01-8ECA-2DF8118B3C8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3A3FB5-BDDC-454E-96C1-00DF3A1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/>
              <a:t>参考线</a:t>
            </a:r>
            <a:br>
              <a:rPr lang="zh-CN" altLang="en-US" dirty="0"/>
            </a:br>
            <a:r>
              <a:rPr lang="zh-CN" altLang="en-US" sz="1600" dirty="0"/>
              <a:t>使用规范说明</a:t>
            </a:r>
            <a:endParaRPr lang="en-GB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09321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6BDD012-C488-45D8-A731-CFA1D488F0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4EDEBB5C-A88E-4CC5-99F8-CCE0163603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132" y="1039725"/>
            <a:ext cx="2277534" cy="1741842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BDBDAB2-73DC-4EE5-9E36-05E57C8376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7C34CC1-73DA-48A5-A666-416573C8E2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50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9272D652-46C7-4A63-B85F-E14B6FB04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金科股份</a:t>
            </a:r>
            <a:r>
              <a:rPr lang="en-US" altLang="zh-CN" dirty="0"/>
              <a:t>000656.SZ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CCE357A-4B5F-41AA-BD3D-AE80ECF8B6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424" y="1046557"/>
            <a:ext cx="2057889" cy="152519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7234EFB8-0F95-42DC-9981-8590DBFFDC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801" y="274660"/>
            <a:ext cx="892314" cy="3271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3185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9BE3B14B-ECCA-41F0-A85E-91FAAC8C1A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内容占位符 7">
            <a:extLst>
              <a:ext uri="{FF2B5EF4-FFF2-40B4-BE49-F238E27FC236}">
                <a16:creationId xmlns:a16="http://schemas.microsoft.com/office/drawing/2014/main" id="{2F780552-7BDD-42E1-A4C4-C33B89921D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481" y="993010"/>
            <a:ext cx="1877156" cy="1434911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2DE8BB6-DEA7-4454-8B6F-DCBC1887F00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footer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E17FD36-406C-4C13-B137-3020B6B0F52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t>51</a:t>
            </a:fld>
            <a:endParaRPr 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F837CE0C-FC41-4E2B-8FD8-4F63E2D53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剑桥科技</a:t>
            </a:r>
            <a:r>
              <a:rPr lang="en-US" altLang="zh-CN" dirty="0"/>
              <a:t>603083 (</a:t>
            </a:r>
            <a:r>
              <a:rPr lang="zh-CN" altLang="en-US" dirty="0"/>
              <a:t>用到未来信息了）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3BCC0C4-6FA2-4C57-9F70-E626B34899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278" y="920848"/>
            <a:ext cx="2082023" cy="157923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06A14EB-DE47-4A5C-BAC3-77E01849DC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858" y="993010"/>
            <a:ext cx="992478" cy="252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2255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5DADC0-C711-4142-BB1D-BEEFA708E1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5FADFF3-72BC-4A35-9309-456D9D2F1F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B84837-7357-4677-B4F2-05FAE4E96C0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 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1"/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标题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(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正文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 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eaLnBrk="0"/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6D4B16-7028-49E0-9DF4-B8C58E73D4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2C91557-1B06-4944-8F18-080FC179F97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2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E8B1EDF-2805-4336-9AE0-ED00944A6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论点展示（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两栏（</a:t>
            </a:r>
            <a:r>
              <a:rPr lang="en-US" altLang="zh-CN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6524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95C016-5A46-4C48-9B6A-40FD38CEC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FBFFEDD-D311-499B-BC84-D8467E4A8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6368892"/>
              </p:ext>
            </p:extLst>
          </p:nvPr>
        </p:nvGraphicFramePr>
        <p:xfrm>
          <a:off x="288925" y="1052513"/>
          <a:ext cx="8569325" cy="2487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13865">
                  <a:extLst>
                    <a:ext uri="{9D8B030D-6E8A-4147-A177-3AD203B41FA5}">
                      <a16:colId xmlns:a16="http://schemas.microsoft.com/office/drawing/2014/main" val="3227789308"/>
                    </a:ext>
                  </a:extLst>
                </a:gridCol>
                <a:gridCol w="1713865">
                  <a:extLst>
                    <a:ext uri="{9D8B030D-6E8A-4147-A177-3AD203B41FA5}">
                      <a16:colId xmlns:a16="http://schemas.microsoft.com/office/drawing/2014/main" val="2759584922"/>
                    </a:ext>
                  </a:extLst>
                </a:gridCol>
                <a:gridCol w="1713865">
                  <a:extLst>
                    <a:ext uri="{9D8B030D-6E8A-4147-A177-3AD203B41FA5}">
                      <a16:colId xmlns:a16="http://schemas.microsoft.com/office/drawing/2014/main" val="1030182518"/>
                    </a:ext>
                  </a:extLst>
                </a:gridCol>
                <a:gridCol w="1713865">
                  <a:extLst>
                    <a:ext uri="{9D8B030D-6E8A-4147-A177-3AD203B41FA5}">
                      <a16:colId xmlns:a16="http://schemas.microsoft.com/office/drawing/2014/main" val="3743574680"/>
                    </a:ext>
                  </a:extLst>
                </a:gridCol>
                <a:gridCol w="1713865">
                  <a:extLst>
                    <a:ext uri="{9D8B030D-6E8A-4147-A177-3AD203B41FA5}">
                      <a16:colId xmlns:a16="http://schemas.microsoft.com/office/drawing/2014/main" val="39278270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lang="en-GB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数据列</a:t>
                      </a:r>
                      <a:endParaRPr kumimoji="0" lang="en-GB" altLang="zh-CN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4282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415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53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1093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018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F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0358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752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5218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96756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68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9656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列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0.00%	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274785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03E68A-26A1-4AA3-8C34-E2EA58BBBF1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488EFC-A122-4E09-AFF8-1A0D7BE8D5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3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3A3FB5-BDDC-454E-96C1-00DF3A1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表格（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带高亮行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40699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95C016-5A46-4C48-9B6A-40FD38CECD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FBFFEDD-D311-499B-BC84-D8467E4A8C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4344748"/>
              </p:ext>
            </p:extLst>
          </p:nvPr>
        </p:nvGraphicFramePr>
        <p:xfrm>
          <a:off x="288925" y="1052511"/>
          <a:ext cx="8569324" cy="28844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9158">
                  <a:extLst>
                    <a:ext uri="{9D8B030D-6E8A-4147-A177-3AD203B41FA5}">
                      <a16:colId xmlns:a16="http://schemas.microsoft.com/office/drawing/2014/main" val="3227789308"/>
                    </a:ext>
                  </a:extLst>
                </a:gridCol>
                <a:gridCol w="3558423">
                  <a:extLst>
                    <a:ext uri="{9D8B030D-6E8A-4147-A177-3AD203B41FA5}">
                      <a16:colId xmlns:a16="http://schemas.microsoft.com/office/drawing/2014/main" val="2759584922"/>
                    </a:ext>
                  </a:extLst>
                </a:gridCol>
                <a:gridCol w="3691743">
                  <a:extLst>
                    <a:ext uri="{9D8B030D-6E8A-4147-A177-3AD203B41FA5}">
                      <a16:colId xmlns:a16="http://schemas.microsoft.com/office/drawing/2014/main" val="1030182518"/>
                    </a:ext>
                  </a:extLst>
                </a:gridCol>
              </a:tblGrid>
              <a:tr h="329103"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项目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详情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详情列（</a:t>
                      </a:r>
                      <a:r>
                        <a:rPr lang="en-US" altLang="zh-CN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zh-CN" altLang="en-US" sz="1000" b="1" spc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altLang="zh-CN" sz="1000" b="1" spc="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T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dk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428289"/>
                  </a:ext>
                </a:extLst>
              </a:tr>
              <a:tr h="851795">
                <a:tc>
                  <a:txBody>
                    <a:bodyPr/>
                    <a:lstStyle/>
                    <a:p>
                      <a:pPr algn="l" eaLnBrk="1"/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lang="en-GB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415133"/>
                  </a:ext>
                </a:extLst>
              </a:tr>
              <a:tr h="851795"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kumimoji="0" lang="en-GB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5335"/>
                  </a:ext>
                </a:extLst>
              </a:tr>
              <a:tr h="851795">
                <a:tc>
                  <a:txBody>
                    <a:bodyPr/>
                    <a:lstStyle/>
                    <a:p>
                      <a:pPr marL="0" marR="0" lvl="0" indent="0" algn="l" defTabSz="6857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子项目</a:t>
                      </a:r>
                      <a:endParaRPr kumimoji="0" lang="en-GB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 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114300" lvl="2" indent="-114300" algn="l" defTabSz="685757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n-lt"/>
                        <a:buChar char="•"/>
                      </a:pPr>
                      <a:r>
                        <a:rPr lang="zh-CN" altLang="en-US" sz="1000" spc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一级内容</a:t>
                      </a:r>
                      <a:endParaRPr lang="en-US" altLang="zh-CN" sz="1000" spc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365755" marR="0" lvl="2" indent="-182878" algn="l" defTabSz="2285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Verdana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-11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二级内容</a:t>
                      </a:r>
                      <a:endParaRPr kumimoji="0" lang="en-US" altLang="zh-CN" sz="1000" b="0" i="0" u="none" strike="noStrike" kern="1200" cap="none" spc="-11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0574" marR="20574" marT="20574" marB="20574">
                    <a:lnT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dk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109306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5884F3-B730-4090-86CC-DF3C20957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1F42A0-7D96-4F64-BEA8-200E74ECC0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4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83A3FB5-BDDC-454E-96C1-00DF3A1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表格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511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64BC9B2-A352-4D5B-ABE6-9C1B38E7D0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0979111"/>
              </p:ext>
            </p:extLst>
          </p:nvPr>
        </p:nvGraphicFramePr>
        <p:xfrm>
          <a:off x="286943" y="1054100"/>
          <a:ext cx="4145357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5" name="top_border">
            <a:extLst>
              <a:ext uri="{FF2B5EF4-FFF2-40B4-BE49-F238E27FC236}">
                <a16:creationId xmlns:a16="http://schemas.microsoft.com/office/drawing/2014/main" id="{50C63870-3034-4B28-BB69-40E9AFB1551D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286943" y="1054100"/>
            <a:ext cx="4145357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6AA0C0B-494A-4BA6-A27F-D5FB2D2C4AB8}"/>
              </a:ext>
            </a:extLst>
          </p:cNvPr>
          <p:cNvSpPr/>
          <p:nvPr/>
        </p:nvSpPr>
        <p:spPr>
          <a:xfrm>
            <a:off x="4711700" y="1291171"/>
            <a:ext cx="828040" cy="390312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0/B120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0078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3D298-377F-498E-8743-7BFDF2CF6B85}"/>
              </a:ext>
            </a:extLst>
          </p:cNvPr>
          <p:cNvSpPr/>
          <p:nvPr/>
        </p:nvSpPr>
        <p:spPr>
          <a:xfrm>
            <a:off x="8023860" y="1291171"/>
            <a:ext cx="828040" cy="39031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5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52/B250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98FA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16A7AC-FDE1-46BF-A15F-AE3A09E7BF18}"/>
              </a:ext>
            </a:extLst>
          </p:cNvPr>
          <p:cNvSpPr/>
          <p:nvPr/>
        </p:nvSpPr>
        <p:spPr>
          <a:xfrm>
            <a:off x="6367780" y="1291171"/>
            <a:ext cx="828040" cy="390312"/>
          </a:xfrm>
          <a:prstGeom prst="rect">
            <a:avLst/>
          </a:prstGeom>
          <a:solidFill>
            <a:srgbClr val="0046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3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70/B255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46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BBD614E-65E6-4764-A063-526D0947B628}"/>
              </a:ext>
            </a:extLst>
          </p:cNvPr>
          <p:cNvSpPr/>
          <p:nvPr/>
        </p:nvSpPr>
        <p:spPr>
          <a:xfrm>
            <a:off x="5539740" y="1291171"/>
            <a:ext cx="828040" cy="390312"/>
          </a:xfrm>
          <a:prstGeom prst="rect">
            <a:avLst/>
          </a:prstGeom>
          <a:solidFill>
            <a:srgbClr val="000AD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2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0/B210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0AD2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AECA854-0E20-4DE2-8507-2FA2E280BC4A}"/>
              </a:ext>
            </a:extLst>
          </p:cNvPr>
          <p:cNvSpPr/>
          <p:nvPr/>
        </p:nvSpPr>
        <p:spPr>
          <a:xfrm>
            <a:off x="7195820" y="1291171"/>
            <a:ext cx="828040" cy="390312"/>
          </a:xfrm>
          <a:prstGeom prst="rect">
            <a:avLst/>
          </a:prstGeom>
          <a:solidFill>
            <a:srgbClr val="0573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4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15/B255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73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C8E1363-0F99-423A-A09B-E4291CC2A422}"/>
              </a:ext>
            </a:extLst>
          </p:cNvPr>
          <p:cNvSpPr/>
          <p:nvPr/>
        </p:nvSpPr>
        <p:spPr>
          <a:xfrm>
            <a:off x="5539740" y="1693375"/>
            <a:ext cx="828040" cy="390312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7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72/G63/B205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483FCD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B0BEB4-97EF-4AB1-A990-AA5A6247B043}"/>
              </a:ext>
            </a:extLst>
          </p:cNvPr>
          <p:cNvSpPr/>
          <p:nvPr/>
        </p:nvSpPr>
        <p:spPr>
          <a:xfrm>
            <a:off x="7195820" y="1693375"/>
            <a:ext cx="828040" cy="390312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9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45/G128/B255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9180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3DCC09B-1EFA-4151-872E-C1F61815BD73}"/>
              </a:ext>
            </a:extLst>
          </p:cNvPr>
          <p:cNvSpPr/>
          <p:nvPr/>
        </p:nvSpPr>
        <p:spPr>
          <a:xfrm>
            <a:off x="6367780" y="1693375"/>
            <a:ext cx="828040" cy="390312"/>
          </a:xfrm>
          <a:prstGeom prst="rect">
            <a:avLst/>
          </a:prstGeom>
          <a:solidFill>
            <a:srgbClr val="6951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8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05/G81/B255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6951FF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C9E88E-3DCA-4D63-AF1F-70F2D4A8F666}"/>
              </a:ext>
            </a:extLst>
          </p:cNvPr>
          <p:cNvSpPr/>
          <p:nvPr/>
        </p:nvSpPr>
        <p:spPr>
          <a:xfrm>
            <a:off x="4711700" y="1693375"/>
            <a:ext cx="828040" cy="390312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6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6/G49/B160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3831A0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15163A-83C6-4E44-A76C-43D6F2F1C8F3}"/>
              </a:ext>
            </a:extLst>
          </p:cNvPr>
          <p:cNvSpPr/>
          <p:nvPr/>
        </p:nvSpPr>
        <p:spPr>
          <a:xfrm>
            <a:off x="4711700" y="2095579"/>
            <a:ext cx="828040" cy="390312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1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80/G54/B232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B436E8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C4962D2-8700-4C89-9500-57535C74E8DA}"/>
              </a:ext>
            </a:extLst>
          </p:cNvPr>
          <p:cNvSpPr/>
          <p:nvPr/>
        </p:nvSpPr>
        <p:spPr>
          <a:xfrm>
            <a:off x="8023860" y="1693375"/>
            <a:ext cx="828040" cy="390312"/>
          </a:xfrm>
          <a:prstGeom prst="rect">
            <a:avLst/>
          </a:prstGeom>
          <a:solidFill>
            <a:srgbClr val="84268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0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32/G38/B133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842685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FEE6082-7A65-4AF7-9D5D-F01A2446EB69}"/>
              </a:ext>
            </a:extLst>
          </p:cNvPr>
          <p:cNvSpPr/>
          <p:nvPr/>
        </p:nvSpPr>
        <p:spPr>
          <a:xfrm>
            <a:off x="5539740" y="2095579"/>
            <a:ext cx="828040" cy="390312"/>
          </a:xfrm>
          <a:prstGeom prst="rect">
            <a:avLst/>
          </a:prstGeom>
          <a:solidFill>
            <a:srgbClr val="30B39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2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43/G166/B148</a:t>
            </a:r>
          </a:p>
          <a:p>
            <a:r>
              <a:rPr lang="pt-BR" sz="8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2BA694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7624B13-BAFC-4DAC-A18C-136430CE48FF}"/>
              </a:ext>
            </a:extLst>
          </p:cNvPr>
          <p:cNvSpPr/>
          <p:nvPr/>
        </p:nvSpPr>
        <p:spPr>
          <a:xfrm>
            <a:off x="7195820" y="2095579"/>
            <a:ext cx="828040" cy="390312"/>
          </a:xfrm>
          <a:prstGeom prst="rect">
            <a:avLst/>
          </a:prstGeom>
          <a:solidFill>
            <a:srgbClr val="01594C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4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1/G89/B76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1594C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7F23189-666D-49F3-B644-D1846E68A8B2}"/>
              </a:ext>
            </a:extLst>
          </p:cNvPr>
          <p:cNvSpPr/>
          <p:nvPr/>
        </p:nvSpPr>
        <p:spPr>
          <a:xfrm>
            <a:off x="6367780" y="2095579"/>
            <a:ext cx="828040" cy="390312"/>
          </a:xfrm>
          <a:prstGeom prst="rect">
            <a:avLst/>
          </a:prstGeom>
          <a:solidFill>
            <a:srgbClr val="007F6B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800" b="1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DV13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27/B107</a:t>
            </a:r>
          </a:p>
          <a:p>
            <a:r>
              <a:rPr lang="pt-BR" sz="80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7F6B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087CB21-1B8C-4A39-BD2B-DF436DDC9B93}"/>
              </a:ext>
            </a:extLst>
          </p:cNvPr>
          <p:cNvSpPr/>
          <p:nvPr/>
        </p:nvSpPr>
        <p:spPr>
          <a:xfrm>
            <a:off x="4711700" y="3679336"/>
            <a:ext cx="690033" cy="410064"/>
          </a:xfrm>
          <a:prstGeom prst="rect">
            <a:avLst/>
          </a:prstGeom>
          <a:solidFill>
            <a:srgbClr val="D5221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ed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13/G34/B25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D52219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FEB34E1-C205-40D9-A679-A3BD2EF92C0D}"/>
              </a:ext>
            </a:extLst>
          </p:cNvPr>
          <p:cNvSpPr/>
          <p:nvPr/>
        </p:nvSpPr>
        <p:spPr>
          <a:xfrm>
            <a:off x="5401733" y="3221873"/>
            <a:ext cx="690033" cy="410064"/>
          </a:xfrm>
          <a:prstGeom prst="rect">
            <a:avLst/>
          </a:prstGeom>
          <a:solidFill>
            <a:srgbClr val="0598FA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Mid Blue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5/G152/B250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598F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52C8439-5FB1-4588-8A54-612BEE00D9E4}"/>
              </a:ext>
            </a:extLst>
          </p:cNvPr>
          <p:cNvSpPr/>
          <p:nvPr/>
        </p:nvSpPr>
        <p:spPr>
          <a:xfrm>
            <a:off x="6091767" y="3679336"/>
            <a:ext cx="690033" cy="410064"/>
          </a:xfrm>
          <a:prstGeom prst="rect">
            <a:avLst/>
          </a:prstGeom>
          <a:solidFill>
            <a:srgbClr val="F9670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Orange</a:t>
            </a: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49/G103/B6</a:t>
            </a: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F97F66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D6ACF88-2395-4B7A-9DCA-7665CAB09BD8}"/>
              </a:ext>
            </a:extLst>
          </p:cNvPr>
          <p:cNvSpPr/>
          <p:nvPr/>
        </p:nvSpPr>
        <p:spPr>
          <a:xfrm>
            <a:off x="5401733" y="3679336"/>
            <a:ext cx="690033" cy="410064"/>
          </a:xfrm>
          <a:prstGeom prst="rect">
            <a:avLst/>
          </a:prstGeom>
          <a:solidFill>
            <a:srgbClr val="00B76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pt-BR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Green</a:t>
            </a: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0/G183/B96</a:t>
            </a:r>
          </a:p>
          <a:p>
            <a:r>
              <a:rPr lang="pt-BR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00B760</a:t>
            </a:r>
            <a:endParaRPr lang="en-US" sz="7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14854D2-01AC-43FC-B662-0D4ECBE74CEE}"/>
              </a:ext>
            </a:extLst>
          </p:cNvPr>
          <p:cNvSpPr/>
          <p:nvPr/>
        </p:nvSpPr>
        <p:spPr>
          <a:xfrm>
            <a:off x="4711700" y="3221873"/>
            <a:ext cx="690033" cy="410064"/>
          </a:xfrm>
          <a:prstGeom prst="rect">
            <a:avLst/>
          </a:prstGeom>
          <a:solidFill>
            <a:srgbClr val="5FF0FF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Icy Blue</a:t>
            </a:r>
          </a:p>
          <a:p>
            <a:r>
              <a:rPr lang="en-US" sz="700" spc="-19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95/G240/B255</a:t>
            </a: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5FF0FF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DC76B9-0C1E-438A-ADB5-E67489BF6B75}"/>
              </a:ext>
            </a:extLst>
          </p:cNvPr>
          <p:cNvSpPr txBox="1"/>
          <p:nvPr/>
        </p:nvSpPr>
        <p:spPr>
          <a:xfrm>
            <a:off x="286943" y="1054100"/>
            <a:ext cx="33485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色板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DC9A294-E467-4893-813C-F32C43764824}"/>
              </a:ext>
            </a:extLst>
          </p:cNvPr>
          <p:cNvSpPr txBox="1"/>
          <p:nvPr/>
        </p:nvSpPr>
        <p:spPr>
          <a:xfrm>
            <a:off x="4711700" y="1054100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色板（按颜色相近度排列）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57" name="top_border">
            <a:extLst>
              <a:ext uri="{FF2B5EF4-FFF2-40B4-BE49-F238E27FC236}">
                <a16:creationId xmlns:a16="http://schemas.microsoft.com/office/drawing/2014/main" id="{25611D24-CCDE-4243-8F96-199AD3BEBACE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4711700" y="1054100"/>
            <a:ext cx="41402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B8450082-3F7D-40F0-BCDB-AC9C84CA9F37}"/>
              </a:ext>
            </a:extLst>
          </p:cNvPr>
          <p:cNvSpPr txBox="1"/>
          <p:nvPr/>
        </p:nvSpPr>
        <p:spPr>
          <a:xfrm>
            <a:off x="4711700" y="2568459"/>
            <a:ext cx="24841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强调色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59" name="top_border">
            <a:extLst>
              <a:ext uri="{FF2B5EF4-FFF2-40B4-BE49-F238E27FC236}">
                <a16:creationId xmlns:a16="http://schemas.microsoft.com/office/drawing/2014/main" id="{93D1E98E-4866-4E72-83D5-96ABD027FC60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4711700" y="2568459"/>
            <a:ext cx="2667000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883AF6-E927-45E3-889E-D69B9133C2B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63115" y="4828575"/>
            <a:ext cx="5902923" cy="136525"/>
          </a:xfrm>
        </p:spPr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FED8E-A516-4C09-ABCA-3662C4DE382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5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颜色</a:t>
            </a:r>
            <a:b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zh-CN" alt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458638" y="2852542"/>
            <a:ext cx="64120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强调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6116182" y="3362579"/>
            <a:ext cx="10259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强调：高亮行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6812597" y="3801814"/>
            <a:ext cx="102592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强调：强对比</a:t>
            </a:r>
          </a:p>
        </p:txBody>
      </p:sp>
      <p:cxnSp>
        <p:nvCxnSpPr>
          <p:cNvPr id="37" name="top_border">
            <a:extLst>
              <a:ext uri="{FF2B5EF4-FFF2-40B4-BE49-F238E27FC236}">
                <a16:creationId xmlns:a16="http://schemas.microsoft.com/office/drawing/2014/main" id="{93D1E98E-4866-4E72-83D5-96ABD027FC60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7666038" y="2578100"/>
            <a:ext cx="11858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7">
            <a:extLst>
              <a:ext uri="{FF2B5EF4-FFF2-40B4-BE49-F238E27FC236}">
                <a16:creationId xmlns:a16="http://schemas.microsoft.com/office/drawing/2014/main" id="{B8450082-3F7D-40F0-BCDB-AC9C84CA9F37}"/>
              </a:ext>
            </a:extLst>
          </p:cNvPr>
          <p:cNvSpPr txBox="1"/>
          <p:nvPr/>
        </p:nvSpPr>
        <p:spPr>
          <a:xfrm>
            <a:off x="7666039" y="2584744"/>
            <a:ext cx="11858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zh-CN" altLang="en-US" sz="1200" b="1" dirty="0">
                <a:solidFill>
                  <a:schemeClr val="dk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表格背景色</a:t>
            </a:r>
            <a:endParaRPr lang="en-US" sz="1200" b="1" dirty="0">
              <a:solidFill>
                <a:schemeClr val="dk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2F350A8A-11A8-4E23-BF1B-CAE772B80F44}"/>
              </a:ext>
            </a:extLst>
          </p:cNvPr>
          <p:cNvSpPr/>
          <p:nvPr/>
        </p:nvSpPr>
        <p:spPr>
          <a:xfrm>
            <a:off x="7666038" y="2779893"/>
            <a:ext cx="760631" cy="410064"/>
          </a:xfrm>
          <a:prstGeom prst="rect">
            <a:avLst/>
          </a:prstGeom>
          <a:solidFill>
            <a:schemeClr val="bg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Light Gray</a:t>
            </a: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40/G240/B240</a:t>
            </a:r>
          </a:p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F0F0F0</a:t>
            </a:r>
          </a:p>
        </p:txBody>
      </p:sp>
      <p:sp>
        <p:nvSpPr>
          <p:cNvPr id="38" name="Rectangle 38">
            <a:extLst>
              <a:ext uri="{FF2B5EF4-FFF2-40B4-BE49-F238E27FC236}">
                <a16:creationId xmlns:a16="http://schemas.microsoft.com/office/drawing/2014/main" id="{A087CB21-1B8C-4A39-BD2B-DF436DDC9B93}"/>
              </a:ext>
            </a:extLst>
          </p:cNvPr>
          <p:cNvSpPr/>
          <p:nvPr/>
        </p:nvSpPr>
        <p:spPr>
          <a:xfrm>
            <a:off x="4710006" y="2764410"/>
            <a:ext cx="690033" cy="410064"/>
          </a:xfrm>
          <a:prstGeom prst="rect">
            <a:avLst/>
          </a:prstGeom>
          <a:solidFill>
            <a:srgbClr val="D5221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r>
              <a:rPr lang="en-US" sz="700" b="1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ed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R213/G34/B25</a:t>
            </a:r>
          </a:p>
          <a:p>
            <a:r>
              <a:rPr lang="en-US" sz="7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Hex: D52219</a:t>
            </a:r>
          </a:p>
        </p:txBody>
      </p:sp>
    </p:spTree>
    <p:extLst>
      <p:ext uri="{BB962C8B-B14F-4D97-AF65-F5344CB8AC3E}">
        <p14:creationId xmlns:p14="http://schemas.microsoft.com/office/powerpoint/2010/main" val="304425995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883AF6-E927-45E3-889E-D69B9133C2B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FED8E-A516-4C09-ABCA-3662C4DE382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/>
              <a:pPr/>
              <a:t>56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8642FFA-7C28-43BB-A1E7-FAE39350E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色板</a:t>
            </a:r>
            <a:br>
              <a:rPr 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仅供数据图表中使用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DC9A294-E467-4893-813C-F32C43764824}"/>
              </a:ext>
            </a:extLst>
          </p:cNvPr>
          <p:cNvSpPr txBox="1"/>
          <p:nvPr/>
        </p:nvSpPr>
        <p:spPr>
          <a:xfrm>
            <a:off x="297609" y="1066726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en-US" altLang="zh-CN" sz="1200" b="1" dirty="0">
                <a:solidFill>
                  <a:schemeClr val="dk1"/>
                </a:solidFill>
              </a:rPr>
              <a:t>2</a:t>
            </a:r>
            <a:r>
              <a:rPr lang="zh-CN" altLang="en-US" sz="1200" b="1" dirty="0">
                <a:solidFill>
                  <a:schemeClr val="dk1"/>
                </a:solidFill>
              </a:rPr>
              <a:t>种颜色</a:t>
            </a:r>
            <a:endParaRPr lang="en-US" sz="1200" b="1" dirty="0">
              <a:solidFill>
                <a:schemeClr val="dk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3200" y="1576161"/>
            <a:ext cx="6037489" cy="285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32153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883AF6-E927-45E3-889E-D69B9133C2B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8FED8E-A516-4C09-ABCA-3662C4DE382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1EBBA96-7132-4E1B-A8F3-30957CBAFB65}" type="slidenum">
              <a:rPr lang="en-US" smtClean="0"/>
              <a:pPr/>
              <a:t>57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8642FFA-7C28-43BB-A1E7-FAE39350E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色板</a:t>
            </a:r>
            <a:br>
              <a:rPr 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仅供数据图表中使用</a:t>
            </a:r>
            <a:endParaRPr lang="en-US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DC9A294-E467-4893-813C-F32C43764824}"/>
              </a:ext>
            </a:extLst>
          </p:cNvPr>
          <p:cNvSpPr txBox="1"/>
          <p:nvPr/>
        </p:nvSpPr>
        <p:spPr>
          <a:xfrm>
            <a:off x="288900" y="1062809"/>
            <a:ext cx="4140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29"/>
              </a:spcBef>
              <a:buClr>
                <a:srgbClr val="000000"/>
              </a:buClr>
            </a:pPr>
            <a:r>
              <a:rPr lang="en-US" altLang="zh-CN" sz="1200" b="1" dirty="0">
                <a:solidFill>
                  <a:schemeClr val="dk1"/>
                </a:solidFill>
              </a:rPr>
              <a:t>3-14</a:t>
            </a:r>
            <a:r>
              <a:rPr lang="zh-CN" altLang="en-US" sz="1200" b="1" dirty="0">
                <a:solidFill>
                  <a:schemeClr val="dk1"/>
                </a:solidFill>
              </a:rPr>
              <a:t>种颜色使用顺序</a:t>
            </a:r>
            <a:endParaRPr lang="en-US" sz="1200" b="1" dirty="0">
              <a:solidFill>
                <a:schemeClr val="dk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09331"/>
            <a:ext cx="4397174" cy="208829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3364" y="1423928"/>
            <a:ext cx="4455712" cy="149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6067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BF655F0-6FB7-434C-A2A4-59F7663F18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9" name="Chart Placeholder 8">
            <a:extLst>
              <a:ext uri="{FF2B5EF4-FFF2-40B4-BE49-F238E27FC236}">
                <a16:creationId xmlns:a16="http://schemas.microsoft.com/office/drawing/2014/main" id="{5227BA62-327B-4ECF-BA11-34C7328454DF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65570376"/>
              </p:ext>
            </p:extLst>
          </p:nvPr>
        </p:nvGraphicFramePr>
        <p:xfrm>
          <a:off x="287338" y="1057275"/>
          <a:ext cx="8569325" cy="287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74488D1-FF4F-4C5A-B5E3-0509AACB6789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925E68-7F5B-4269-BE1C-A475F859EE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AFCF21-AC12-48D7-92CD-77FDDA86E9D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8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0C24B2A-D172-4916-BCD7-26A17BD45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一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58887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7CD8F5C-BF9C-4C95-A06C-19E679113E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796C41F-3056-49E4-8548-BFA5742AE3F5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348161727"/>
              </p:ext>
            </p:extLst>
          </p:nvPr>
        </p:nvGraphicFramePr>
        <p:xfrm>
          <a:off x="287338" y="1058863"/>
          <a:ext cx="8567737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C516C2A-3956-4959-85F8-67BAEA05A74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8516120" cy="161583"/>
          </a:xfrm>
        </p:spPr>
        <p:txBody>
          <a:bodyPr lIns="13716" rIns="0" bIns="0"/>
          <a:lstStyle/>
          <a:p>
            <a:r>
              <a:rPr lang="zh-CN" altLang="en-US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5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15" name="Content Placeholder 3">
            <a:extLst>
              <a:ext uri="{FF2B5EF4-FFF2-40B4-BE49-F238E27FC236}">
                <a16:creationId xmlns:a16="http://schemas.microsoft.com/office/drawing/2014/main" id="{C9475231-E62A-4B45-A2F6-9FF6F50974A9}"/>
              </a:ext>
            </a:extLst>
          </p:cNvPr>
          <p:cNvGraphicFramePr>
            <a:graphicFrameLocks noGrp="1"/>
          </p:cNvGraphicFramePr>
          <p:nvPr>
            <p:ph idx="23"/>
            <p:extLst>
              <p:ext uri="{D42A27DB-BD31-4B8C-83A1-F6EECF244321}">
                <p14:modId xmlns:p14="http://schemas.microsoft.com/office/powerpoint/2010/main" val="1881416420"/>
              </p:ext>
            </p:extLst>
          </p:nvPr>
        </p:nvGraphicFramePr>
        <p:xfrm>
          <a:off x="284163" y="2553217"/>
          <a:ext cx="8567737" cy="135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9CD8AE-D50A-444D-B959-6936CAFDF44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41709" y="2602970"/>
            <a:ext cx="8516120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144A9C-357D-4AA2-B3DB-59DEA4BDB9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D7811-C6EA-47E8-BEF6-4F217D4C07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59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itle 11">
            <a:extLst>
              <a:ext uri="{FF2B5EF4-FFF2-40B4-BE49-F238E27FC236}">
                <a16:creationId xmlns:a16="http://schemas.microsoft.com/office/drawing/2014/main" id="{B0C24B2A-D172-4916-BCD7-26A17BD45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两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241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7AAA6D-2E25-4862-8CEA-AFEA36590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31652F-FFAC-4186-9ABD-CA38B851C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6</a:t>
            </a:fld>
            <a:endParaRPr lang="en-US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B8F980-BBB6-475C-A7BA-B9E916C56F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人物介绍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53E77A-04F0-4CB6-93A2-2FB89B9725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130" y="1052513"/>
            <a:ext cx="1472407" cy="648812"/>
          </a:xfrm>
        </p:spPr>
        <p:txBody>
          <a:bodyPr/>
          <a:lstStyle/>
          <a:p>
            <a:pPr lvl="0"/>
            <a:r>
              <a:rPr lang="zh-CN" altLang="en-US" sz="12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（</a:t>
            </a:r>
            <a:r>
              <a:rPr lang="en-US" altLang="zh-CN" sz="12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sz="12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  <a:endParaRPr lang="en-US" altLang="zh-CN" sz="1200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（</a:t>
            </a:r>
            <a:r>
              <a:rPr lang="en-US" altLang="zh-CN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07301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B53B15D-A460-4B6F-BEB5-612EDDA3C27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42B9193-B30E-4A44-8C58-B6D5DD8ACB84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516509449"/>
              </p:ext>
            </p:extLst>
          </p:nvPr>
        </p:nvGraphicFramePr>
        <p:xfrm>
          <a:off x="287338" y="1058863"/>
          <a:ext cx="4143375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AB99277-1C24-412C-86BE-454EA0C7CC1B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4088606" cy="153888"/>
          </a:xfrm>
        </p:spPr>
        <p:txBody>
          <a:bodyPr lIns="13716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20" name="Content Placeholder 3">
            <a:extLst>
              <a:ext uri="{FF2B5EF4-FFF2-40B4-BE49-F238E27FC236}">
                <a16:creationId xmlns:a16="http://schemas.microsoft.com/office/drawing/2014/main" id="{DCB4073A-CE66-4C2E-AE30-3A7A4DD06B5D}"/>
              </a:ext>
            </a:extLst>
          </p:cNvPr>
          <p:cNvGraphicFramePr>
            <a:graphicFrameLocks noGrp="1"/>
          </p:cNvGraphicFramePr>
          <p:nvPr>
            <p:ph idx="23"/>
            <p:extLst>
              <p:ext uri="{D42A27DB-BD31-4B8C-83A1-F6EECF244321}">
                <p14:modId xmlns:p14="http://schemas.microsoft.com/office/powerpoint/2010/main" val="4133408882"/>
              </p:ext>
            </p:extLst>
          </p:nvPr>
        </p:nvGraphicFramePr>
        <p:xfrm>
          <a:off x="4713288" y="1058863"/>
          <a:ext cx="4141787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D172E52-3B98-45E7-B4B7-07721A678EF0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4765792" y="1090175"/>
            <a:ext cx="4088606" cy="153888"/>
          </a:xfrm>
        </p:spPr>
        <p:txBody>
          <a:bodyPr lIns="0" rIns="0" bIns="0"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6BAA3-AD73-43BC-AD49-0C56F911D0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B4EE6-5259-4322-BEE1-4089F9B353B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155401-3DB4-4CF6-A870-175396AA9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两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328076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4982CFE-6004-491A-B8F2-3F486688A71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37" name="Content Placeholder 3">
            <a:extLst>
              <a:ext uri="{FF2B5EF4-FFF2-40B4-BE49-F238E27FC236}">
                <a16:creationId xmlns:a16="http://schemas.microsoft.com/office/drawing/2014/main" id="{2AB0D052-3407-4234-8D7B-5564683BD8EF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288925" y="1058863"/>
          <a:ext cx="2662238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25E768-71C2-4BD4-9D4A-947B75C3DB9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41709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44" name="Content Placeholder 3">
            <a:extLst>
              <a:ext uri="{FF2B5EF4-FFF2-40B4-BE49-F238E27FC236}">
                <a16:creationId xmlns:a16="http://schemas.microsoft.com/office/drawing/2014/main" id="{6462BCA3-A028-4DE5-836D-BDB992ECB6E4}"/>
              </a:ext>
            </a:extLst>
          </p:cNvPr>
          <p:cNvGraphicFramePr>
            <a:graphicFrameLocks noGrp="1"/>
          </p:cNvGraphicFramePr>
          <p:nvPr>
            <p:ph idx="18"/>
          </p:nvPr>
        </p:nvGraphicFramePr>
        <p:xfrm>
          <a:off x="3241675" y="1058863"/>
          <a:ext cx="2660650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BFD564F-BC3B-4940-BA07-9FD7F506BBBE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279892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45" name="Content Placeholder 3">
            <a:extLst>
              <a:ext uri="{FF2B5EF4-FFF2-40B4-BE49-F238E27FC236}">
                <a16:creationId xmlns:a16="http://schemas.microsoft.com/office/drawing/2014/main" id="{AB598A06-1C37-4AF5-9D83-741350206A65}"/>
              </a:ext>
            </a:extLst>
          </p:cNvPr>
          <p:cNvGraphicFramePr>
            <a:graphicFrameLocks noGrp="1"/>
          </p:cNvGraphicFramePr>
          <p:nvPr>
            <p:ph idx="20"/>
          </p:nvPr>
        </p:nvGraphicFramePr>
        <p:xfrm>
          <a:off x="6194425" y="1058863"/>
          <a:ext cx="2662238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73E0EA-407D-4EA3-9597-905A7FA2B70F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244968" y="1090175"/>
            <a:ext cx="2607431" cy="153888"/>
          </a:xfrm>
        </p:spPr>
        <p:txBody>
          <a:bodyPr/>
          <a:lstStyle/>
          <a:p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B06355-89DA-430A-9C8D-DDE81DA45A8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5F7649-0F82-4CB3-9BD5-00D05C1BA5D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E956600-25F2-4DA7-A229-97F4AA4CF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三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0719353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2314D44-72F1-4DF6-947D-1CC3CA59DD96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0AD326-7772-4645-8C3D-F15E257175D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E30D70-FF2E-47A6-8D02-A61233E943B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pPr/>
              <a:t>62</a:t>
            </a:fld>
            <a:endParaRPr lang="en-US"/>
          </a:p>
        </p:txBody>
      </p:sp>
      <p:graphicFrame>
        <p:nvGraphicFramePr>
          <p:cNvPr id="23" name="Content Placeholder 3">
            <a:extLst>
              <a:ext uri="{FF2B5EF4-FFF2-40B4-BE49-F238E27FC236}">
                <a16:creationId xmlns:a16="http://schemas.microsoft.com/office/drawing/2014/main" id="{666DD439-D1C5-4033-9F6E-58618C2C0C45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290513" y="1058863"/>
          <a:ext cx="2012950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8E858D-D15E-4910-9AE0-DAF4CE52971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20561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50" name="Content Placeholder 3">
            <a:extLst>
              <a:ext uri="{FF2B5EF4-FFF2-40B4-BE49-F238E27FC236}">
                <a16:creationId xmlns:a16="http://schemas.microsoft.com/office/drawing/2014/main" id="{C2EC64AE-414F-4A0F-A1CF-D88BFF915271}"/>
              </a:ext>
            </a:extLst>
          </p:cNvPr>
          <p:cNvGraphicFramePr>
            <a:graphicFrameLocks noGrp="1"/>
          </p:cNvGraphicFramePr>
          <p:nvPr>
            <p:ph idx="18"/>
          </p:nvPr>
        </p:nvGraphicFramePr>
        <p:xfrm>
          <a:off x="2473325" y="1058863"/>
          <a:ext cx="2011363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6D04F4-9EDD-44AE-88D3-FE28FF81B8F7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 l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51" name="Content Placeholder 3">
            <a:extLst>
              <a:ext uri="{FF2B5EF4-FFF2-40B4-BE49-F238E27FC236}">
                <a16:creationId xmlns:a16="http://schemas.microsoft.com/office/drawing/2014/main" id="{D199F101-A900-4CEC-A493-81CB2D911623}"/>
              </a:ext>
            </a:extLst>
          </p:cNvPr>
          <p:cNvGraphicFramePr>
            <a:graphicFrameLocks noGrp="1"/>
          </p:cNvGraphicFramePr>
          <p:nvPr>
            <p:ph idx="20"/>
          </p:nvPr>
        </p:nvGraphicFramePr>
        <p:xfrm>
          <a:off x="4656138" y="1058863"/>
          <a:ext cx="2011362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57D60C-91B7-4D42-8532-AEB26F2896B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4688814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graphicFrame>
        <p:nvGraphicFramePr>
          <p:cNvPr id="52" name="Content Placeholder 3">
            <a:extLst>
              <a:ext uri="{FF2B5EF4-FFF2-40B4-BE49-F238E27FC236}">
                <a16:creationId xmlns:a16="http://schemas.microsoft.com/office/drawing/2014/main" id="{0150AB74-E07A-4A06-AA17-EEC0B4B73811}"/>
              </a:ext>
            </a:extLst>
          </p:cNvPr>
          <p:cNvGraphicFramePr>
            <a:graphicFrameLocks noGrp="1"/>
          </p:cNvGraphicFramePr>
          <p:nvPr>
            <p:ph idx="31"/>
          </p:nvPr>
        </p:nvGraphicFramePr>
        <p:xfrm>
          <a:off x="6838950" y="1058863"/>
          <a:ext cx="2011363" cy="288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2357D64-3FFB-4E11-9BC9-724948D71F91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6871354" y="1087320"/>
            <a:ext cx="2014803" cy="184666"/>
          </a:xfrm>
        </p:spPr>
        <p:txBody>
          <a:bodyPr lIns="13716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8233E7D-10C1-4D0F-BD93-0DA7B9F8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四栏</a:t>
            </a:r>
            <a:endParaRPr lang="en-US" sz="16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22161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ontent Placeholder 3">
            <a:extLst>
              <a:ext uri="{FF2B5EF4-FFF2-40B4-BE49-F238E27FC236}">
                <a16:creationId xmlns:a16="http://schemas.microsoft.com/office/drawing/2014/main" id="{76A73400-34F2-497E-9573-1DBB5160FD8B}"/>
              </a:ext>
            </a:extLst>
          </p:cNvPr>
          <p:cNvGraphicFramePr>
            <a:graphicFrameLocks/>
          </p:cNvGraphicFramePr>
          <p:nvPr/>
        </p:nvGraphicFramePr>
        <p:xfrm>
          <a:off x="4711701" y="2574925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4" name="Content Placeholder 3">
            <a:extLst>
              <a:ext uri="{FF2B5EF4-FFF2-40B4-BE49-F238E27FC236}">
                <a16:creationId xmlns:a16="http://schemas.microsoft.com/office/drawing/2014/main" id="{7C15ACE1-FE89-442A-9D11-B25F29080794}"/>
              </a:ext>
            </a:extLst>
          </p:cNvPr>
          <p:cNvGraphicFramePr>
            <a:graphicFrameLocks/>
          </p:cNvGraphicFramePr>
          <p:nvPr/>
        </p:nvGraphicFramePr>
        <p:xfrm>
          <a:off x="292100" y="2574925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ontent Placeholder 3">
            <a:extLst>
              <a:ext uri="{FF2B5EF4-FFF2-40B4-BE49-F238E27FC236}">
                <a16:creationId xmlns:a16="http://schemas.microsoft.com/office/drawing/2014/main" id="{7CF6FF67-B922-427F-ACBB-86DDF99CBEDE}"/>
              </a:ext>
            </a:extLst>
          </p:cNvPr>
          <p:cNvGraphicFramePr>
            <a:graphicFrameLocks/>
          </p:cNvGraphicFramePr>
          <p:nvPr/>
        </p:nvGraphicFramePr>
        <p:xfrm>
          <a:off x="4711701" y="1058862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ontent Placeholder 3">
            <a:extLst>
              <a:ext uri="{FF2B5EF4-FFF2-40B4-BE49-F238E27FC236}">
                <a16:creationId xmlns:a16="http://schemas.microsoft.com/office/drawing/2014/main" id="{2032CCC2-8A50-42B1-9DC4-D69A2C8E406E}"/>
              </a:ext>
            </a:extLst>
          </p:cNvPr>
          <p:cNvGraphicFramePr>
            <a:graphicFrameLocks/>
          </p:cNvGraphicFramePr>
          <p:nvPr/>
        </p:nvGraphicFramePr>
        <p:xfrm>
          <a:off x="292100" y="1058862"/>
          <a:ext cx="4144962" cy="136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8E858D-D15E-4910-9AE0-DAF4CE5297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lIns="0" t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2311F-8A95-43FF-A14F-5B6058F162E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63115" y="4828510"/>
            <a:ext cx="5902923" cy="136525"/>
          </a:xfrm>
        </p:spPr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A73D9-83BF-40CB-9F7A-1501BC24A63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pPr/>
              <a:t>63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8233E7D-10C1-4D0F-BD93-0DA7B9F8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rIns="0" bIns="0"/>
          <a:lstStyle/>
          <a:p>
            <a:r>
              <a: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rPr>
              <a:t>图表示例</a:t>
            </a:r>
            <a:b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*2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栏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0" name="top_border">
            <a:extLst>
              <a:ext uri="{FF2B5EF4-FFF2-40B4-BE49-F238E27FC236}">
                <a16:creationId xmlns:a16="http://schemas.microsoft.com/office/drawing/2014/main" id="{5377E6D6-C91E-465D-9378-24B7F4C72142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287339" y="1058863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_border">
            <a:extLst>
              <a:ext uri="{FF2B5EF4-FFF2-40B4-BE49-F238E27FC236}">
                <a16:creationId xmlns:a16="http://schemas.microsoft.com/office/drawing/2014/main" id="{412A14D5-CB55-4D2A-A85C-18F8DF29242B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4711701" y="1058863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top_border">
            <a:extLst>
              <a:ext uri="{FF2B5EF4-FFF2-40B4-BE49-F238E27FC236}">
                <a16:creationId xmlns:a16="http://schemas.microsoft.com/office/drawing/2014/main" id="{FFA2275E-369D-48AA-B7D6-422F703F539F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4711701" y="2574925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_border">
            <a:extLst>
              <a:ext uri="{FF2B5EF4-FFF2-40B4-BE49-F238E27FC236}">
                <a16:creationId xmlns:a16="http://schemas.microsoft.com/office/drawing/2014/main" id="{38E2CCBE-D4A8-4422-813E-A243891ABA15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287338" y="2574925"/>
            <a:ext cx="4144962" cy="0"/>
          </a:xfrm>
          <a:prstGeom prst="line">
            <a:avLst/>
          </a:prstGeom>
          <a:ln w="9525">
            <a:solidFill>
              <a:schemeClr val="dk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972CAB33-8860-4043-BE18-78E7BEE79BD5}"/>
              </a:ext>
            </a:extLst>
          </p:cNvPr>
          <p:cNvSpPr txBox="1">
            <a:spLocks/>
          </p:cNvSpPr>
          <p:nvPr/>
        </p:nvSpPr>
        <p:spPr>
          <a:xfrm>
            <a:off x="4747826" y="1075158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6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9392734C-7B02-4519-BC8A-732EDA888B7E}"/>
              </a:ext>
            </a:extLst>
          </p:cNvPr>
          <p:cNvSpPr txBox="1">
            <a:spLocks/>
          </p:cNvSpPr>
          <p:nvPr/>
        </p:nvSpPr>
        <p:spPr>
          <a:xfrm>
            <a:off x="324255" y="2594383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6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F8641F01-DEC8-4B1D-AD7E-D039A636A535}"/>
              </a:ext>
            </a:extLst>
          </p:cNvPr>
          <p:cNvSpPr txBox="1">
            <a:spLocks/>
          </p:cNvSpPr>
          <p:nvPr/>
        </p:nvSpPr>
        <p:spPr>
          <a:xfrm>
            <a:off x="4747826" y="2594383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6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DB37F7EA-C3BB-4B09-B23C-CDF1893ED66E}"/>
              </a:ext>
            </a:extLst>
          </p:cNvPr>
          <p:cNvSpPr txBox="1">
            <a:spLocks/>
          </p:cNvSpPr>
          <p:nvPr/>
        </p:nvSpPr>
        <p:spPr>
          <a:xfrm>
            <a:off x="324255" y="1075158"/>
            <a:ext cx="4108044" cy="18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6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图表标题（</a:t>
            </a:r>
            <a:r>
              <a:rPr lang="en-US" altLang="zh-CN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000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</p:txBody>
      </p:sp>
    </p:spTree>
    <p:extLst>
      <p:ext uri="{BB962C8B-B14F-4D97-AF65-F5344CB8AC3E}">
        <p14:creationId xmlns:p14="http://schemas.microsoft.com/office/powerpoint/2010/main" val="410086626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占位符 9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7" r="19457"/>
          <a:stretch>
            <a:fillRect/>
          </a:stretch>
        </p:blipFill>
        <p:spPr>
          <a:xfrm>
            <a:off x="3240033" y="0"/>
            <a:ext cx="5905500" cy="51435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D692EF-1002-4800-98DD-11DD6F42999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763115" y="4820960"/>
            <a:ext cx="5902923" cy="136525"/>
          </a:xfrm>
        </p:spPr>
        <p:txBody>
          <a:bodyPr/>
          <a:lstStyle/>
          <a:p>
            <a:pPr lvl="0"/>
            <a:r>
              <a:rPr lang="zh-CN" altLang="en-US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C56B64-BE47-4112-9AB9-67648285C5B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</a:rPr>
              <a:pPr/>
              <a:t>6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26030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3" t="12575" r="-254" b="20522"/>
          <a:stretch/>
        </p:blipFill>
        <p:spPr>
          <a:xfrm>
            <a:off x="-38749" y="1061849"/>
            <a:ext cx="9205995" cy="408162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937DC0-B00B-40C7-9F43-C045EE2ABD0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763115" y="4836259"/>
            <a:ext cx="5902923" cy="136525"/>
          </a:xfrm>
        </p:spPr>
        <p:txBody>
          <a:bodyPr/>
          <a:lstStyle/>
          <a:p>
            <a:pPr lvl="0"/>
            <a:r>
              <a:rPr lang="zh-CN" altLang="en-US" dirty="0">
                <a:solidFill>
                  <a:schemeClr val="tx1"/>
                </a:solidFill>
                <a:latin typeface="Noto Sans SC Regular" panose="020B0500000000000000" pitchFamily="34" charset="-122"/>
                <a:ea typeface="Noto Sans SC Regular" panose="020B0500000000000000" pitchFamily="34" charset="-122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96B29B-7BC1-4171-86C9-0819304356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tx1"/>
                </a:solidFill>
              </a:rPr>
              <a:pPr/>
              <a:t>65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4F08DE-010C-47C7-986F-1A012934041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zh-CN" altLang="en-US" dirty="0">
                <a:latin typeface="+mn-ea"/>
              </a:rPr>
              <a:t>文本文字</a:t>
            </a:r>
            <a:endParaRPr lang="en-US" dirty="0">
              <a:latin typeface="+mn-ea"/>
            </a:endParaRPr>
          </a:p>
          <a:p>
            <a:pPr lvl="1"/>
            <a:r>
              <a:rPr lang="zh-CN" altLang="en-US" dirty="0">
                <a:latin typeface="+mn-ea"/>
              </a:rPr>
              <a:t>文本文字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569387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2000" dirty="0">
                <a:solidFill>
                  <a:srgbClr val="000AD2"/>
                </a:solidFill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</a:rPr>
            </a:br>
            <a:r>
              <a:rPr lang="zh-CN" altLang="en-US" sz="1600" dirty="0">
                <a:solidFill>
                  <a:srgbClr val="000AD2"/>
                </a:solidFill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58024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DA60823-ACD1-4ACB-A063-641C153608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DA60823-ACD1-4ACB-A063-641C15360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A953DF-AA3F-472F-B31F-6F44673C96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89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 dirty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pic>
        <p:nvPicPr>
          <p:cNvPr id="7" name="Picture 6" descr="A person sitting at a table with a computer&#10;&#10;Description automatically generated with low confidence">
            <a:extLst>
              <a:ext uri="{FF2B5EF4-FFF2-40B4-BE49-F238E27FC236}">
                <a16:creationId xmlns:a16="http://schemas.microsoft.com/office/drawing/2014/main" id="{5A2DFE88-5390-6D47-94B3-9C603187A47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09" b="18105"/>
          <a:stretch/>
        </p:blipFill>
        <p:spPr>
          <a:xfrm>
            <a:off x="0" y="1068370"/>
            <a:ext cx="9144000" cy="4089399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06CAC4-5243-4239-ACC1-E6D6E9A34E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317C54-3E32-4808-BB7A-72704551918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lvl="0"/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380A285-AE14-4C26-958E-5E6ED603768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66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0"/>
            <a:ext cx="8568929" cy="569387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sz="2000" dirty="0">
                <a:solidFill>
                  <a:srgbClr val="000AD2"/>
                </a:solidFill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</a:rPr>
            </a:br>
            <a:r>
              <a:rPr lang="zh-CN" altLang="en-US" sz="1600" dirty="0">
                <a:solidFill>
                  <a:srgbClr val="000AD2"/>
                </a:solidFill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</a:rPr>
              <a:t>，不加粗）</a:t>
            </a: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E4B116B7-5A57-4571-BA49-A038DB925126}"/>
              </a:ext>
            </a:extLst>
          </p:cNvPr>
          <p:cNvSpPr txBox="1">
            <a:spLocks/>
          </p:cNvSpPr>
          <p:nvPr/>
        </p:nvSpPr>
        <p:spPr>
          <a:xfrm>
            <a:off x="4860131" y="1607050"/>
            <a:ext cx="1848894" cy="1506020"/>
          </a:xfrm>
          <a:prstGeom prst="rect">
            <a:avLst/>
          </a:prstGeom>
          <a:ln w="25400">
            <a:solidFill>
              <a:schemeClr val="bg1"/>
            </a:solidFill>
          </a:ln>
        </p:spPr>
        <p:txBody>
          <a:bodyPr lIns="182880" tIns="182880" rIns="91440" bIns="0"/>
          <a:lstStyle>
            <a:lvl1pPr marL="0" indent="0" algn="l" defTabSz="171440" rtl="0" eaLnBrk="1" latinLnBrk="0" hangingPunct="1">
              <a:spcBef>
                <a:spcPts val="12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</a:p>
          <a:p>
            <a:pPr defTabSz="914400"/>
            <a:r>
              <a:rPr lang="zh-CN" altLang="en-US" sz="105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endParaRPr lang="en-US" sz="105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435C08-EABF-472B-BE46-A081E06CE592}"/>
              </a:ext>
            </a:extLst>
          </p:cNvPr>
          <p:cNvSpPr txBox="1">
            <a:spLocks/>
          </p:cNvSpPr>
          <p:nvPr/>
        </p:nvSpPr>
        <p:spPr>
          <a:xfrm>
            <a:off x="6989002" y="1607050"/>
            <a:ext cx="1868058" cy="1506020"/>
          </a:xfrm>
          <a:prstGeom prst="rect">
            <a:avLst/>
          </a:prstGeom>
          <a:ln w="25400">
            <a:solidFill>
              <a:schemeClr val="bg1"/>
            </a:solidFill>
          </a:ln>
        </p:spPr>
        <p:txBody>
          <a:bodyPr lIns="182880" tIns="182880" rIns="91440" bIns="0"/>
          <a:lstStyle>
            <a:lvl1pPr marL="0" indent="0" algn="l" defTabSz="171440" rtl="0" eaLnBrk="1" latinLnBrk="0" hangingPunct="1">
              <a:spcBef>
                <a:spcPts val="12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</a:p>
          <a:p>
            <a:pPr defTabSz="914400"/>
            <a:r>
              <a:rPr lang="zh-CN" altLang="en-US" sz="105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endParaRPr lang="en-US" altLang="zh-CN" sz="105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11860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lid_bg">
            <a:extLst>
              <a:ext uri="{FF2B5EF4-FFF2-40B4-BE49-F238E27FC236}">
                <a16:creationId xmlns:a16="http://schemas.microsoft.com/office/drawing/2014/main" id="{44177046-30D7-43AF-9844-396AEC77A75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A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9B1BF88-6A16-DC41-876D-B3E9B52E269F}"/>
              </a:ext>
            </a:extLst>
          </p:cNvPr>
          <p:cNvSpPr/>
          <p:nvPr/>
        </p:nvSpPr>
        <p:spPr>
          <a:xfrm>
            <a:off x="2611742" y="423867"/>
            <a:ext cx="3920516" cy="3920516"/>
          </a:xfrm>
          <a:prstGeom prst="ellipse">
            <a:avLst/>
          </a:prstGeom>
          <a:noFill/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10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aphicFrame>
        <p:nvGraphicFramePr>
          <p:cNvPr id="6" name="Circle SmartArt">
            <a:extLst>
              <a:ext uri="{FF2B5EF4-FFF2-40B4-BE49-F238E27FC236}">
                <a16:creationId xmlns:a16="http://schemas.microsoft.com/office/drawing/2014/main" id="{799795DA-2025-4A2F-A33E-CBE1995415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342732"/>
              </p:ext>
            </p:extLst>
          </p:nvPr>
        </p:nvGraphicFramePr>
        <p:xfrm>
          <a:off x="1261322" y="179492"/>
          <a:ext cx="6607806" cy="4405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8E76A6-5F62-48D3-989D-10FA8CB873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60A3C-5EFD-4983-9004-F937473EB9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67</a:t>
            </a:fld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BFF06EC-7C27-41A0-AD05-3B705FFFEDA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14" name="Center Text">
            <a:extLst>
              <a:ext uri="{FF2B5EF4-FFF2-40B4-BE49-F238E27FC236}">
                <a16:creationId xmlns:a16="http://schemas.microsoft.com/office/drawing/2014/main" id="{F818AC1A-5D9C-674E-8547-D26AC727DDFE}"/>
              </a:ext>
            </a:extLst>
          </p:cNvPr>
          <p:cNvSpPr txBox="1"/>
          <p:nvPr/>
        </p:nvSpPr>
        <p:spPr>
          <a:xfrm>
            <a:off x="3238500" y="2022487"/>
            <a:ext cx="2667000" cy="7232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要观点</a:t>
            </a:r>
            <a:br>
              <a:rPr lang="zh-CN" altLang="en-US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GB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1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745523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17"/>
          <a:stretch/>
        </p:blipFill>
        <p:spPr>
          <a:xfrm>
            <a:off x="0" y="11975"/>
            <a:ext cx="9144000" cy="51297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F2C258B-F564-4C1E-BFF9-D589BCD49E17}"/>
              </a:ext>
            </a:extLst>
          </p:cNvPr>
          <p:cNvSpPr txBox="1"/>
          <p:nvPr/>
        </p:nvSpPr>
        <p:spPr>
          <a:xfrm>
            <a:off x="815724" y="2063919"/>
            <a:ext cx="7512552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zh-CN" altLang="en-US" sz="32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主要观点</a:t>
            </a:r>
            <a:endParaRPr lang="en-US" sz="32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>
              <a:spcBef>
                <a:spcPts val="2400"/>
              </a:spcBef>
            </a:pPr>
            <a:r>
              <a:rPr lang="zh-CN" altLang="en-US" sz="14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文本文字</a:t>
            </a:r>
            <a:endParaRPr lang="en-GB" altLang="zh-CN" sz="14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A46C75-ABC9-47A4-8CA9-78181BFB96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3115" y="4820826"/>
            <a:ext cx="5902923" cy="136525"/>
          </a:xfrm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可选页脚（例：仅供内部参考）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176C2B4-8B02-4781-9853-C28BAC58DE5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 lIns="0" tIns="0" rIns="0" bIns="0"/>
          <a:lstStyle/>
          <a:p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3260A3C-5EFD-4983-9004-F937473EB9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1452" y="4828510"/>
            <a:ext cx="355607" cy="136525"/>
          </a:xfrm>
        </p:spPr>
        <p:txBody>
          <a:bodyPr/>
          <a:lstStyle/>
          <a:p>
            <a:fld id="{BCA4F33B-2A5C-4874-B5D7-74DA77ECCD3C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68</a:t>
            </a:fld>
            <a:endParaRPr lang="en-US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41278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lid_bg">
            <a:extLst>
              <a:ext uri="{FF2B5EF4-FFF2-40B4-BE49-F238E27FC236}">
                <a16:creationId xmlns:a16="http://schemas.microsoft.com/office/drawing/2014/main" id="{C61F205E-AC64-4486-99CA-735633BBAB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A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1" t="-136" r="35135" b="136"/>
          <a:stretch/>
        </p:blipFill>
        <p:spPr>
          <a:xfrm>
            <a:off x="-15498" y="-7749"/>
            <a:ext cx="4579749" cy="5158740"/>
          </a:xfrm>
          <a:prstGeom prst="rect">
            <a:avLst/>
          </a:prstGeom>
        </p:spPr>
      </p:pic>
      <p:sp>
        <p:nvSpPr>
          <p:cNvPr id="9" name="Title 5">
            <a:extLst>
              <a:ext uri="{FF2B5EF4-FFF2-40B4-BE49-F238E27FC236}">
                <a16:creationId xmlns:a16="http://schemas.microsoft.com/office/drawing/2014/main" id="{BA3B64DC-84C4-4D2D-B021-22D7C38FDBFE}"/>
              </a:ext>
            </a:extLst>
          </p:cNvPr>
          <p:cNvSpPr txBox="1">
            <a:spLocks/>
          </p:cNvSpPr>
          <p:nvPr/>
        </p:nvSpPr>
        <p:spPr>
          <a:xfrm>
            <a:off x="4864232" y="271838"/>
            <a:ext cx="3992828" cy="6579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7144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0" kern="120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zh-CN" altLang="en-US" sz="2000" dirty="0">
                <a:solidFill>
                  <a:srgbClr val="F0F0F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标题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682E58-F4E3-43D7-BAEF-436C479A41ED}"/>
              </a:ext>
            </a:extLst>
          </p:cNvPr>
          <p:cNvSpPr/>
          <p:nvPr/>
        </p:nvSpPr>
        <p:spPr>
          <a:xfrm>
            <a:off x="5325232" y="1680313"/>
            <a:ext cx="3070827" cy="4308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kumimoji="0" lang="zh-CN" altLang="en-US" sz="1000" b="1" u="none" strike="noStrike" kern="0" cap="none" spc="0" normalizeH="0" baseline="0" noProof="0" dirty="0">
                <a:ln>
                  <a:noFill/>
                </a:ln>
                <a:solidFill>
                  <a:srgbClr val="5FF9FF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kumimoji="0" lang="en-GB" sz="1000" b="1" u="none" strike="noStrike" kern="0" cap="none" spc="0" normalizeH="0" baseline="0" noProof="0" dirty="0">
              <a:ln>
                <a:noFill/>
              </a:ln>
              <a:solidFill>
                <a:srgbClr val="5FF9FF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kumimoji="0" lang="zh-CN" altLang="en-US" sz="1200" b="0" i="0" u="none" strike="noStrike" kern="1200" cap="none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kumimoji="0" lang="en-GB" sz="1200" b="0" i="0" u="none" strike="noStrike" kern="1200" cap="none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C103D0-B214-4398-BD4C-780836F1353D}"/>
              </a:ext>
            </a:extLst>
          </p:cNvPr>
          <p:cNvSpPr/>
          <p:nvPr/>
        </p:nvSpPr>
        <p:spPr>
          <a:xfrm>
            <a:off x="5325232" y="2813292"/>
            <a:ext cx="3070827" cy="430887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lang="zh-CN" altLang="en-US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en-GB" altLang="zh-CN" sz="1000" b="1" kern="0" dirty="0">
              <a:solidFill>
                <a:srgbClr val="5FF9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zh-CN" altLang="en-US" sz="12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GB" altLang="zh-CN" sz="12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F7355E-1F35-48E2-9414-4C2AC39690A6}"/>
              </a:ext>
            </a:extLst>
          </p:cNvPr>
          <p:cNvSpPr/>
          <p:nvPr/>
        </p:nvSpPr>
        <p:spPr>
          <a:xfrm>
            <a:off x="5325232" y="3946269"/>
            <a:ext cx="3070827" cy="430887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lvl="0" algn="ctr" defTabSz="685800">
              <a:defRPr/>
            </a:pPr>
            <a:r>
              <a:rPr lang="zh-CN" altLang="en-US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1000" b="1" kern="0" dirty="0">
                <a:solidFill>
                  <a:srgbClr val="5FF9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  <a:endParaRPr lang="en-GB" altLang="zh-CN" sz="1000" b="1" kern="0" dirty="0">
              <a:solidFill>
                <a:srgbClr val="5FF9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zh-CN" altLang="en-US" sz="12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  <a:endParaRPr lang="en-GB" altLang="zh-CN" sz="12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527842-AECD-41C9-BDDA-F011726927FC}"/>
              </a:ext>
            </a:extLst>
          </p:cNvPr>
          <p:cNvCxnSpPr>
            <a:cxnSpLocks/>
          </p:cNvCxnSpPr>
          <p:nvPr/>
        </p:nvCxnSpPr>
        <p:spPr>
          <a:xfrm>
            <a:off x="6478859" y="2462246"/>
            <a:ext cx="763572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6E25E91-9CDD-4E13-BBA3-8E8DC9D5AF2A}"/>
              </a:ext>
            </a:extLst>
          </p:cNvPr>
          <p:cNvCxnSpPr>
            <a:cxnSpLocks/>
          </p:cNvCxnSpPr>
          <p:nvPr/>
        </p:nvCxnSpPr>
        <p:spPr>
          <a:xfrm>
            <a:off x="6478859" y="3595224"/>
            <a:ext cx="763572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E6CFC2-67B8-4F1F-AFE2-EEBAE0845A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D1EB9C-8968-4800-B155-25A84F49AA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69</a:t>
            </a:fld>
            <a:endParaRPr lang="en-US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750372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1264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84A448-883D-4570-81EC-F3DB7D58909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397D02-73E6-4E9B-8A32-B11FA8343E1F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7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2" name="Picture Placeholder 52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E53F2C0F-E5A8-4D10-933D-896C268D3146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/>
        </p:blipFill>
        <p:spPr/>
      </p:pic>
      <p:pic>
        <p:nvPicPr>
          <p:cNvPr id="61" name="Picture Placeholder 52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B2E67175-A118-4E50-BE8B-7B5774DBD87C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/>
        </p:blipFill>
        <p:spPr/>
      </p:pic>
      <p:pic>
        <p:nvPicPr>
          <p:cNvPr id="60" name="Picture Placeholder 52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0DFCE81E-E8D1-4D6E-910D-7A4564A290AC}"/>
              </a:ext>
            </a:extLst>
          </p:cNvPr>
          <p:cNvPicPr>
            <a:picLocks noGrp="1" noChangeAspect="1"/>
          </p:cNvPicPr>
          <p:nvPr>
            <p:ph type="pic" sz="quarter" idx="42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/>
        </p:blipFill>
        <p:spPr/>
      </p:pic>
      <p:pic>
        <p:nvPicPr>
          <p:cNvPr id="53" name="Picture Placeholder 52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1C8A1367-25D5-4947-A308-A199BB6ED33A}"/>
              </a:ext>
            </a:extLst>
          </p:cNvPr>
          <p:cNvPicPr>
            <a:picLocks noGrp="1" noChangeAspect="1"/>
          </p:cNvPicPr>
          <p:nvPr>
            <p:ph type="pic" sz="quarter" idx="44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7" b="5217"/>
          <a:stretch/>
        </p:blipFill>
        <p:spPr>
          <a:xfrm>
            <a:off x="286942" y="1060684"/>
            <a:ext cx="857117" cy="857131"/>
          </a:xfr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614C90C-0797-4234-8691-4457A8CAD19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BF392AE-A633-46D7-BB8B-EC19AC545FC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E77162D-EC32-4AFD-ADC9-7452FA092C8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</a:t>
            </a:r>
            <a:endParaRPr lang="en-US" altLang="zh-CN" b="1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424A6-E318-43FB-9A6A-B015C5535D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姓名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职称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graphicFrame>
        <p:nvGraphicFramePr>
          <p:cNvPr id="85" name="Table 85">
            <a:extLst>
              <a:ext uri="{FF2B5EF4-FFF2-40B4-BE49-F238E27FC236}">
                <a16:creationId xmlns:a16="http://schemas.microsoft.com/office/drawing/2014/main" id="{7A9B7B95-794D-4EC9-98DB-B8C90362FFB2}"/>
              </a:ext>
            </a:extLst>
          </p:cNvPr>
          <p:cNvGraphicFramePr>
            <a:graphicFrameLocks noGrp="1"/>
          </p:cNvGraphicFramePr>
          <p:nvPr>
            <p:ph sz="quarter" idx="39"/>
            <p:extLst>
              <p:ext uri="{D42A27DB-BD31-4B8C-83A1-F6EECF244321}">
                <p14:modId xmlns:p14="http://schemas.microsoft.com/office/powerpoint/2010/main" val="4187234347"/>
              </p:ext>
            </p:extLst>
          </p:nvPr>
        </p:nvGraphicFramePr>
        <p:xfrm>
          <a:off x="6935788" y="2576513"/>
          <a:ext cx="1920874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0874">
                  <a:extLst>
                    <a:ext uri="{9D8B030D-6E8A-4147-A177-3AD203B41FA5}">
                      <a16:colId xmlns:a16="http://schemas.microsoft.com/office/drawing/2014/main" val="128126634"/>
                    </a:ext>
                  </a:extLst>
                </a:gridCol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endParaRPr lang="en-GB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0859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7036281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40166"/>
                  </a:ext>
                </a:extLst>
              </a:tr>
              <a:tr h="426941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7208330"/>
                  </a:ext>
                </a:extLst>
              </a:tr>
            </a:tbl>
          </a:graphicData>
        </a:graphic>
      </p:graphicFrame>
      <p:graphicFrame>
        <p:nvGraphicFramePr>
          <p:cNvPr id="102" name="Table 85">
            <a:extLst>
              <a:ext uri="{FF2B5EF4-FFF2-40B4-BE49-F238E27FC236}">
                <a16:creationId xmlns:a16="http://schemas.microsoft.com/office/drawing/2014/main" id="{3260114E-D355-403D-B324-7B107BBF8DC8}"/>
              </a:ext>
            </a:extLst>
          </p:cNvPr>
          <p:cNvGraphicFramePr>
            <a:graphicFrameLocks noGrp="1"/>
          </p:cNvGraphicFramePr>
          <p:nvPr>
            <p:ph sz="quarter" idx="41"/>
            <p:extLst>
              <p:ext uri="{D42A27DB-BD31-4B8C-83A1-F6EECF244321}">
                <p14:modId xmlns:p14="http://schemas.microsoft.com/office/powerpoint/2010/main" val="202606754"/>
              </p:ext>
            </p:extLst>
          </p:nvPr>
        </p:nvGraphicFramePr>
        <p:xfrm>
          <a:off x="4719638" y="2576513"/>
          <a:ext cx="1919287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7">
                  <a:extLst>
                    <a:ext uri="{9D8B030D-6E8A-4147-A177-3AD203B41FA5}">
                      <a16:colId xmlns:a16="http://schemas.microsoft.com/office/drawing/2014/main" val="128126634"/>
                    </a:ext>
                  </a:extLst>
                </a:gridCol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endParaRPr lang="en-GB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0859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7036281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40166"/>
                  </a:ext>
                </a:extLst>
              </a:tr>
              <a:tr h="426941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7208330"/>
                  </a:ext>
                </a:extLst>
              </a:tr>
            </a:tbl>
          </a:graphicData>
        </a:graphic>
      </p:graphicFrame>
      <p:graphicFrame>
        <p:nvGraphicFramePr>
          <p:cNvPr id="103" name="Table 85">
            <a:extLst>
              <a:ext uri="{FF2B5EF4-FFF2-40B4-BE49-F238E27FC236}">
                <a16:creationId xmlns:a16="http://schemas.microsoft.com/office/drawing/2014/main" id="{46B626FA-FD40-4248-AC7B-66BE8BB0024C}"/>
              </a:ext>
            </a:extLst>
          </p:cNvPr>
          <p:cNvGraphicFramePr>
            <a:graphicFrameLocks noGrp="1"/>
          </p:cNvGraphicFramePr>
          <p:nvPr>
            <p:ph sz="quarter" idx="43"/>
            <p:extLst>
              <p:ext uri="{D42A27DB-BD31-4B8C-83A1-F6EECF244321}">
                <p14:modId xmlns:p14="http://schemas.microsoft.com/office/powerpoint/2010/main" val="2210265888"/>
              </p:ext>
            </p:extLst>
          </p:nvPr>
        </p:nvGraphicFramePr>
        <p:xfrm>
          <a:off x="2503488" y="2576513"/>
          <a:ext cx="1919287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7">
                  <a:extLst>
                    <a:ext uri="{9D8B030D-6E8A-4147-A177-3AD203B41FA5}">
                      <a16:colId xmlns:a16="http://schemas.microsoft.com/office/drawing/2014/main" val="128126634"/>
                    </a:ext>
                  </a:extLst>
                </a:gridCol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0859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7036281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40166"/>
                  </a:ext>
                </a:extLst>
              </a:tr>
              <a:tr h="426941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7208330"/>
                  </a:ext>
                </a:extLst>
              </a:tr>
            </a:tbl>
          </a:graphicData>
        </a:graphic>
      </p:graphicFrame>
      <p:graphicFrame>
        <p:nvGraphicFramePr>
          <p:cNvPr id="104" name="Table 85">
            <a:extLst>
              <a:ext uri="{FF2B5EF4-FFF2-40B4-BE49-F238E27FC236}">
                <a16:creationId xmlns:a16="http://schemas.microsoft.com/office/drawing/2014/main" id="{7BE079D0-A392-4711-8832-13353380F930}"/>
              </a:ext>
            </a:extLst>
          </p:cNvPr>
          <p:cNvGraphicFramePr>
            <a:graphicFrameLocks noGrp="1"/>
          </p:cNvGraphicFramePr>
          <p:nvPr>
            <p:ph sz="quarter" idx="45"/>
            <p:extLst>
              <p:ext uri="{D42A27DB-BD31-4B8C-83A1-F6EECF244321}">
                <p14:modId xmlns:p14="http://schemas.microsoft.com/office/powerpoint/2010/main" val="2758336710"/>
              </p:ext>
            </p:extLst>
          </p:nvPr>
        </p:nvGraphicFramePr>
        <p:xfrm>
          <a:off x="287338" y="2576513"/>
          <a:ext cx="1919288" cy="1544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9288">
                  <a:extLst>
                    <a:ext uri="{9D8B030D-6E8A-4147-A177-3AD203B41FA5}">
                      <a16:colId xmlns:a16="http://schemas.microsoft.com/office/drawing/2014/main" val="128126634"/>
                    </a:ext>
                  </a:extLst>
                </a:gridCol>
              </a:tblGrid>
              <a:tr h="372487">
                <a:tc>
                  <a:txBody>
                    <a:bodyPr/>
                    <a:lstStyle/>
                    <a:p>
                      <a:pPr eaLnBrk="1"/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开始从业年份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i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eaLnBrk="1"/>
                      <a:r>
                        <a:rPr lang="en-GB" sz="800" b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00859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入司年份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en-GB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7036281"/>
                  </a:ext>
                </a:extLst>
              </a:tr>
              <a:tr h="372487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学历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硕士</a:t>
                      </a:r>
                      <a:endParaRPr lang="en-US" sz="800" b="0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840166"/>
                  </a:ext>
                </a:extLst>
              </a:tr>
              <a:tr h="426941">
                <a:tc>
                  <a:txBody>
                    <a:bodyPr/>
                    <a:lstStyle/>
                    <a:p>
                      <a:pPr marL="0" algn="l" defTabSz="1219123" rtl="0" eaLnBrk="1" latinLnBrk="0" hangingPunct="1"/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研究行业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CN" altLang="en-US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投资理念、风格</a:t>
                      </a:r>
                      <a:r>
                        <a:rPr lang="en-US" altLang="zh-CN" sz="800" b="1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/…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lang="en-US" altLang="zh-CN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8</a:t>
                      </a:r>
                      <a:r>
                        <a:rPr lang="zh-CN" altLang="en-US" sz="800" b="1" i="0" spc="0" dirty="0"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，加粗）</a:t>
                      </a:r>
                      <a:endParaRPr lang="en-GB" sz="800" b="1" kern="1200" spc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  <a:p>
                      <a:pPr marL="0" algn="l" defTabSz="1219123" rtl="0" eaLnBrk="1" latinLnBrk="0" hangingPunct="1"/>
                      <a:r>
                        <a:rPr lang="zh-CN" altLang="en-US" sz="800" b="0" kern="1200" spc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黑体" panose="02010609060101010101" pitchFamily="49" charset="-122"/>
                          <a:cs typeface="Arial" panose="020B0604020202020204" pitchFamily="34" charset="0"/>
                        </a:rPr>
                        <a:t>文本文字</a:t>
                      </a:r>
                      <a:endParaRPr lang="en-US" sz="800" b="0" spc="0" dirty="0">
                        <a:latin typeface="Arial" panose="020B0604020202020204" pitchFamily="34" charset="0"/>
                        <a:ea typeface="黑体" panose="02010609060101010101" pitchFamily="49" charset="-122"/>
                        <a:cs typeface="Arial" panose="020B0604020202020204" pitchFamily="34" charset="0"/>
                      </a:endParaRPr>
                    </a:p>
                  </a:txBody>
                  <a:tcPr marL="0" marR="0" marT="30375" marB="27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7208330"/>
                  </a:ext>
                </a:extLst>
              </a:tr>
            </a:tbl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60BA20CE-66B1-4CC9-B8FB-79EA47B22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基金经理介绍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br>
              <a:rPr 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AC1A4A5-4CFB-410A-9D64-0FFCEF022263}"/>
              </a:ext>
            </a:extLst>
          </p:cNvPr>
          <p:cNvSpPr txBox="1"/>
          <p:nvPr/>
        </p:nvSpPr>
        <p:spPr>
          <a:xfrm>
            <a:off x="288900" y="567000"/>
            <a:ext cx="8583168" cy="3807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 defTabSz="171440">
              <a:lnSpc>
                <a:spcPct val="113000"/>
              </a:lnSpc>
              <a:spcBef>
                <a:spcPts val="0"/>
              </a:spcBef>
              <a:buFont typeface="Verdana" pitchFamily="34" charset="0"/>
              <a:buNone/>
              <a:defRPr sz="1050" b="0" spc="0" baseline="0">
                <a:solidFill>
                  <a:schemeClr val="tx2"/>
                </a:solidFill>
              </a:defRPr>
            </a:lvl1pPr>
            <a:lvl2pPr marL="257175" indent="0" defTabSz="171440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125" b="1" spc="0" baseline="0"/>
            </a:lvl2pPr>
            <a:lvl3pPr marL="514350" indent="0" defTabSz="171440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1013" b="1" spc="0" baseline="0"/>
            </a:lvl3pPr>
            <a:lvl4pPr marL="771525" indent="0" defTabSz="171440">
              <a:spcBef>
                <a:spcPts val="0"/>
              </a:spcBef>
              <a:buFont typeface="Arial" panose="020B0604020202020204" pitchFamily="34" charset="0"/>
              <a:buNone/>
              <a:defRPr sz="900" b="1" spc="0" baseline="0"/>
            </a:lvl4pPr>
            <a:lvl5pPr marL="1028700" indent="0" defTabSz="171440">
              <a:spcBef>
                <a:spcPts val="0"/>
              </a:spcBef>
              <a:buFont typeface="Arial" panose="020B0604020202020204" pitchFamily="34" charset="0"/>
              <a:buNone/>
              <a:defRPr sz="900" b="1" spc="0" baseline="0"/>
            </a:lvl5pPr>
            <a:lvl6pPr marL="1285875" indent="0" defTabSz="685757">
              <a:spcBef>
                <a:spcPct val="20000"/>
              </a:spcBef>
              <a:buFont typeface="Arial" pitchFamily="34" charset="0"/>
              <a:buNone/>
              <a:defRPr sz="900" b="1"/>
            </a:lvl6pPr>
            <a:lvl7pPr marL="1543050" indent="0" defTabSz="685757">
              <a:spcBef>
                <a:spcPct val="20000"/>
              </a:spcBef>
              <a:buFont typeface="Arial" pitchFamily="34" charset="0"/>
              <a:buNone/>
              <a:defRPr sz="900" b="1"/>
            </a:lvl7pPr>
            <a:lvl8pPr marL="1800225" indent="0" defTabSz="685757">
              <a:spcBef>
                <a:spcPct val="20000"/>
              </a:spcBef>
              <a:buFont typeface="Arial" pitchFamily="34" charset="0"/>
              <a:buNone/>
              <a:defRPr sz="900" b="1"/>
            </a:lvl8pPr>
            <a:lvl9pPr marL="2057400" indent="0" defTabSz="685757">
              <a:spcBef>
                <a:spcPct val="20000"/>
              </a:spcBef>
              <a:buFont typeface="Arial" pitchFamily="34" charset="0"/>
              <a:buNone/>
              <a:defRPr sz="900" b="1"/>
            </a:lvl9pPr>
          </a:lstStyle>
          <a:p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265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0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92C6E9-B5B7-4020-A658-85003982836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2575F9-7B4F-41CA-8768-7D9906E6891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70</a:t>
            </a:fld>
            <a:endParaRPr lang="en-US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363123-FD5E-4646-980A-E3890C1A7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61729"/>
            <a:ext cx="8568929" cy="571499"/>
          </a:xfrm>
        </p:spPr>
        <p:txBody>
          <a:bodyPr lIns="0" tIns="0" rIns="0" bIns="0"/>
          <a:lstStyle/>
          <a:p>
            <a:r>
              <a:rPr lang="zh-CN" altLang="en-US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主标题（</a:t>
            </a:r>
            <a:r>
              <a:rPr lang="en-US" altLang="zh-CN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E9A0E59-459E-471A-ACC6-447EBF5FFB09}"/>
              </a:ext>
            </a:extLst>
          </p:cNvPr>
          <p:cNvSpPr txBox="1">
            <a:spLocks/>
          </p:cNvSpPr>
          <p:nvPr/>
        </p:nvSpPr>
        <p:spPr>
          <a:xfrm>
            <a:off x="288900" y="2578100"/>
            <a:ext cx="2667600" cy="199390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lIns="108000" tIns="108000" rIns="10800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12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en-US" sz="2100" dirty="0">
              <a:solidFill>
                <a:srgbClr val="000AD2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0B464A0-8960-45C4-8433-05B8859A5428}"/>
              </a:ext>
            </a:extLst>
          </p:cNvPr>
          <p:cNvSpPr txBox="1">
            <a:spLocks/>
          </p:cNvSpPr>
          <p:nvPr/>
        </p:nvSpPr>
        <p:spPr>
          <a:xfrm>
            <a:off x="3238200" y="2578100"/>
            <a:ext cx="2667600" cy="199390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lIns="108000" tIns="108000" rIns="108000" bIns="0" rtlCol="0" anchor="t" anchorCtr="0">
            <a:noAutofit/>
          </a:bodyPr>
          <a:lstStyle>
            <a:lvl1pPr marL="0" indent="0" algn="l" defTabSz="171440" rtl="0" eaLnBrk="1" latinLnBrk="0" hangingPunct="1">
              <a:spcBef>
                <a:spcPts val="12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6B8DC46-EAA6-47F1-8665-44E4F9174783}"/>
              </a:ext>
            </a:extLst>
          </p:cNvPr>
          <p:cNvSpPr txBox="1">
            <a:spLocks/>
          </p:cNvSpPr>
          <p:nvPr/>
        </p:nvSpPr>
        <p:spPr>
          <a:xfrm>
            <a:off x="6190655" y="2578100"/>
            <a:ext cx="2666405" cy="1993900"/>
          </a:xfrm>
          <a:prstGeom prst="rect">
            <a:avLst/>
          </a:prstGeom>
          <a:solidFill>
            <a:schemeClr val="bg1"/>
          </a:solidFill>
        </p:spPr>
        <p:txBody>
          <a:bodyPr lIns="108000" tIns="108000" rIns="108000"/>
          <a:lstStyle>
            <a:lvl1pPr marL="0" indent="0" algn="l" defTabSz="171440" rtl="0" eaLnBrk="1" latinLnBrk="0" hangingPunct="1">
              <a:spcBef>
                <a:spcPts val="1200"/>
              </a:spcBef>
              <a:buFont typeface="Verdana" pitchFamily="34" charset="0"/>
              <a:buNone/>
              <a:defRPr sz="14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038" indent="-173038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2763" indent="-15557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1925" algn="l" defTabSz="171440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2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zh-CN" altLang="en-US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要点</a:t>
            </a:r>
            <a:r>
              <a:rPr lang="en-US" altLang="zh-CN" sz="21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3</a:t>
            </a:r>
          </a:p>
          <a:p>
            <a:r>
              <a:rPr lang="zh-CN" altLang="en-US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17" y="4743184"/>
            <a:ext cx="856037" cy="2056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834277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44709F-40C1-430F-AF24-A9BBA980370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/>
              <a:t>可选页脚（例：仅供内部参考）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AEA40-AD4D-4CCA-97E5-D40DAF9A00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CA4F33B-2A5C-4874-B5D7-74DA77ECCD3C}" type="slidenum">
              <a:rPr lang="en-US" smtClean="0"/>
              <a:pPr/>
              <a:t>7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A130C4-05B2-4B1F-AB6C-2EB2F350D65A}"/>
              </a:ext>
            </a:extLst>
          </p:cNvPr>
          <p:cNvSpPr txBox="1">
            <a:spLocks/>
          </p:cNvSpPr>
          <p:nvPr/>
        </p:nvSpPr>
        <p:spPr>
          <a:xfrm>
            <a:off x="1017134" y="1738313"/>
            <a:ext cx="74856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Equitie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50CF330-924B-41A7-ADDC-6544E2C32284}"/>
              </a:ext>
            </a:extLst>
          </p:cNvPr>
          <p:cNvSpPr>
            <a:spLocks/>
          </p:cNvSpPr>
          <p:nvPr/>
        </p:nvSpPr>
        <p:spPr>
          <a:xfrm>
            <a:off x="2347913" y="1924050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Earning </a:t>
            </a:r>
          </a:p>
          <a:p>
            <a:pPr algn="ctr"/>
            <a:r>
              <a:rPr lang="en-US" sz="1200" dirty="0"/>
              <a:t>growth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B0DDDA-88EF-474F-A7C7-E46AA4C38A44}"/>
              </a:ext>
            </a:extLst>
          </p:cNvPr>
          <p:cNvSpPr>
            <a:spLocks/>
          </p:cNvSpPr>
          <p:nvPr/>
        </p:nvSpPr>
        <p:spPr>
          <a:xfrm>
            <a:off x="4140994" y="1924050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Value </a:t>
            </a:r>
          </a:p>
          <a:p>
            <a:pPr algn="ctr"/>
            <a:r>
              <a:rPr lang="en-US" sz="1200"/>
              <a:t>Chang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79CD1A9-2BDB-470C-90B7-52D8F92C7970}"/>
              </a:ext>
            </a:extLst>
          </p:cNvPr>
          <p:cNvSpPr>
            <a:spLocks/>
          </p:cNvSpPr>
          <p:nvPr/>
        </p:nvSpPr>
        <p:spPr>
          <a:xfrm>
            <a:off x="5926931" y="1924050"/>
            <a:ext cx="866775" cy="8667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Yiel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875FA6-C59E-447D-8B65-71542F04E244}"/>
              </a:ext>
            </a:extLst>
          </p:cNvPr>
          <p:cNvSpPr txBox="1">
            <a:spLocks/>
          </p:cNvSpPr>
          <p:nvPr/>
        </p:nvSpPr>
        <p:spPr>
          <a:xfrm>
            <a:off x="1017133" y="3259931"/>
            <a:ext cx="9271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Government</a:t>
            </a:r>
          </a:p>
          <a:p>
            <a:r>
              <a:rPr lang="en-US" sz="1200" b="1" dirty="0"/>
              <a:t>bon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9862FC-53C1-4388-878A-FB29EABA2BF6}"/>
              </a:ext>
            </a:extLst>
          </p:cNvPr>
          <p:cNvSpPr txBox="1">
            <a:spLocks/>
          </p:cNvSpPr>
          <p:nvPr/>
        </p:nvSpPr>
        <p:spPr>
          <a:xfrm>
            <a:off x="3140019" y="13484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Capital retur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3BBAB8-4562-4F10-9D42-BC90FA726BC2}"/>
              </a:ext>
            </a:extLst>
          </p:cNvPr>
          <p:cNvSpPr txBox="1">
            <a:spLocks/>
          </p:cNvSpPr>
          <p:nvPr/>
        </p:nvSpPr>
        <p:spPr>
          <a:xfrm>
            <a:off x="4949769" y="13484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Income</a:t>
            </a:r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91A49BDF-20FE-4A57-B1A0-04F5609E03D6}"/>
              </a:ext>
            </a:extLst>
          </p:cNvPr>
          <p:cNvSpPr>
            <a:spLocks noChangeAspect="1"/>
          </p:cNvSpPr>
          <p:nvPr/>
        </p:nvSpPr>
        <p:spPr bwMode="auto">
          <a:xfrm>
            <a:off x="3643313" y="2301479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0" name="Freeform 6">
            <a:extLst>
              <a:ext uri="{FF2B5EF4-FFF2-40B4-BE49-F238E27FC236}">
                <a16:creationId xmlns:a16="http://schemas.microsoft.com/office/drawing/2014/main" id="{06D70601-F876-44C2-B9CF-61F6B2FA2D8B}"/>
              </a:ext>
            </a:extLst>
          </p:cNvPr>
          <p:cNvSpPr>
            <a:spLocks noChangeAspect="1"/>
          </p:cNvSpPr>
          <p:nvPr/>
        </p:nvSpPr>
        <p:spPr bwMode="auto">
          <a:xfrm>
            <a:off x="5464969" y="2301479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1" name="Freeform 7">
            <a:extLst>
              <a:ext uri="{FF2B5EF4-FFF2-40B4-BE49-F238E27FC236}">
                <a16:creationId xmlns:a16="http://schemas.microsoft.com/office/drawing/2014/main" id="{AE657D88-23CE-4CB0-8F4E-64915E50970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73516" y="2328863"/>
            <a:ext cx="86916" cy="46435"/>
          </a:xfrm>
          <a:custGeom>
            <a:avLst/>
            <a:gdLst>
              <a:gd name="T0" fmla="*/ 0 w 73"/>
              <a:gd name="T1" fmla="*/ 39 h 39"/>
              <a:gd name="T2" fmla="*/ 73 w 73"/>
              <a:gd name="T3" fmla="*/ 39 h 39"/>
              <a:gd name="T4" fmla="*/ 73 w 73"/>
              <a:gd name="T5" fmla="*/ 30 h 39"/>
              <a:gd name="T6" fmla="*/ 0 w 73"/>
              <a:gd name="T7" fmla="*/ 30 h 39"/>
              <a:gd name="T8" fmla="*/ 0 w 73"/>
              <a:gd name="T9" fmla="*/ 39 h 39"/>
              <a:gd name="T10" fmla="*/ 0 w 73"/>
              <a:gd name="T11" fmla="*/ 8 h 39"/>
              <a:gd name="T12" fmla="*/ 73 w 73"/>
              <a:gd name="T13" fmla="*/ 8 h 39"/>
              <a:gd name="T14" fmla="*/ 73 w 73"/>
              <a:gd name="T15" fmla="*/ 0 h 39"/>
              <a:gd name="T16" fmla="*/ 0 w 73"/>
              <a:gd name="T17" fmla="*/ 0 h 39"/>
              <a:gd name="T18" fmla="*/ 0 w 73"/>
              <a:gd name="T19" fmla="*/ 8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39">
                <a:moveTo>
                  <a:pt x="0" y="39"/>
                </a:moveTo>
                <a:lnTo>
                  <a:pt x="73" y="39"/>
                </a:lnTo>
                <a:lnTo>
                  <a:pt x="73" y="30"/>
                </a:lnTo>
                <a:lnTo>
                  <a:pt x="0" y="30"/>
                </a:lnTo>
                <a:lnTo>
                  <a:pt x="0" y="39"/>
                </a:lnTo>
                <a:close/>
                <a:moveTo>
                  <a:pt x="0" y="8"/>
                </a:moveTo>
                <a:lnTo>
                  <a:pt x="73" y="8"/>
                </a:lnTo>
                <a:lnTo>
                  <a:pt x="73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2" name="Freeform 5">
            <a:extLst>
              <a:ext uri="{FF2B5EF4-FFF2-40B4-BE49-F238E27FC236}">
                <a16:creationId xmlns:a16="http://schemas.microsoft.com/office/drawing/2014/main" id="{6741A223-30F7-4E10-9ABF-7861BA4D9BE9}"/>
              </a:ext>
            </a:extLst>
          </p:cNvPr>
          <p:cNvSpPr>
            <a:spLocks noChangeAspect="1"/>
          </p:cNvSpPr>
          <p:nvPr/>
        </p:nvSpPr>
        <p:spPr bwMode="auto">
          <a:xfrm>
            <a:off x="3643313" y="3810238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3" name="Freeform 6">
            <a:extLst>
              <a:ext uri="{FF2B5EF4-FFF2-40B4-BE49-F238E27FC236}">
                <a16:creationId xmlns:a16="http://schemas.microsoft.com/office/drawing/2014/main" id="{BED0305D-52B0-4B9D-9246-C3746ABADBC7}"/>
              </a:ext>
            </a:extLst>
          </p:cNvPr>
          <p:cNvSpPr>
            <a:spLocks noChangeAspect="1"/>
          </p:cNvSpPr>
          <p:nvPr/>
        </p:nvSpPr>
        <p:spPr bwMode="auto">
          <a:xfrm>
            <a:off x="5464969" y="3810238"/>
            <a:ext cx="94060" cy="100013"/>
          </a:xfrm>
          <a:custGeom>
            <a:avLst/>
            <a:gdLst>
              <a:gd name="T0" fmla="*/ 35 w 79"/>
              <a:gd name="T1" fmla="*/ 84 h 84"/>
              <a:gd name="T2" fmla="*/ 44 w 79"/>
              <a:gd name="T3" fmla="*/ 84 h 84"/>
              <a:gd name="T4" fmla="*/ 44 w 79"/>
              <a:gd name="T5" fmla="*/ 46 h 84"/>
              <a:gd name="T6" fmla="*/ 79 w 79"/>
              <a:gd name="T7" fmla="*/ 46 h 84"/>
              <a:gd name="T8" fmla="*/ 79 w 79"/>
              <a:gd name="T9" fmla="*/ 38 h 84"/>
              <a:gd name="T10" fmla="*/ 44 w 79"/>
              <a:gd name="T11" fmla="*/ 38 h 84"/>
              <a:gd name="T12" fmla="*/ 44 w 79"/>
              <a:gd name="T13" fmla="*/ 0 h 84"/>
              <a:gd name="T14" fmla="*/ 35 w 79"/>
              <a:gd name="T15" fmla="*/ 0 h 84"/>
              <a:gd name="T16" fmla="*/ 35 w 79"/>
              <a:gd name="T17" fmla="*/ 38 h 84"/>
              <a:gd name="T18" fmla="*/ 0 w 79"/>
              <a:gd name="T19" fmla="*/ 38 h 84"/>
              <a:gd name="T20" fmla="*/ 0 w 79"/>
              <a:gd name="T21" fmla="*/ 46 h 84"/>
              <a:gd name="T22" fmla="*/ 35 w 79"/>
              <a:gd name="T23" fmla="*/ 46 h 84"/>
              <a:gd name="T24" fmla="*/ 35 w 79"/>
              <a:gd name="T2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" h="84">
                <a:moveTo>
                  <a:pt x="35" y="84"/>
                </a:moveTo>
                <a:lnTo>
                  <a:pt x="44" y="84"/>
                </a:lnTo>
                <a:lnTo>
                  <a:pt x="44" y="46"/>
                </a:lnTo>
                <a:lnTo>
                  <a:pt x="79" y="46"/>
                </a:lnTo>
                <a:lnTo>
                  <a:pt x="79" y="38"/>
                </a:lnTo>
                <a:lnTo>
                  <a:pt x="44" y="38"/>
                </a:lnTo>
                <a:lnTo>
                  <a:pt x="44" y="0"/>
                </a:lnTo>
                <a:lnTo>
                  <a:pt x="35" y="0"/>
                </a:lnTo>
                <a:lnTo>
                  <a:pt x="35" y="38"/>
                </a:lnTo>
                <a:lnTo>
                  <a:pt x="0" y="38"/>
                </a:lnTo>
                <a:lnTo>
                  <a:pt x="0" y="46"/>
                </a:lnTo>
                <a:lnTo>
                  <a:pt x="35" y="46"/>
                </a:lnTo>
                <a:lnTo>
                  <a:pt x="35" y="84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4" name="Freeform 7">
            <a:extLst>
              <a:ext uri="{FF2B5EF4-FFF2-40B4-BE49-F238E27FC236}">
                <a16:creationId xmlns:a16="http://schemas.microsoft.com/office/drawing/2014/main" id="{8A0D31EA-3C62-4CC5-912A-A355C2FE69A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73516" y="3837623"/>
            <a:ext cx="86916" cy="46435"/>
          </a:xfrm>
          <a:custGeom>
            <a:avLst/>
            <a:gdLst>
              <a:gd name="T0" fmla="*/ 0 w 73"/>
              <a:gd name="T1" fmla="*/ 39 h 39"/>
              <a:gd name="T2" fmla="*/ 73 w 73"/>
              <a:gd name="T3" fmla="*/ 39 h 39"/>
              <a:gd name="T4" fmla="*/ 73 w 73"/>
              <a:gd name="T5" fmla="*/ 30 h 39"/>
              <a:gd name="T6" fmla="*/ 0 w 73"/>
              <a:gd name="T7" fmla="*/ 30 h 39"/>
              <a:gd name="T8" fmla="*/ 0 w 73"/>
              <a:gd name="T9" fmla="*/ 39 h 39"/>
              <a:gd name="T10" fmla="*/ 0 w 73"/>
              <a:gd name="T11" fmla="*/ 8 h 39"/>
              <a:gd name="T12" fmla="*/ 73 w 73"/>
              <a:gd name="T13" fmla="*/ 8 h 39"/>
              <a:gd name="T14" fmla="*/ 73 w 73"/>
              <a:gd name="T15" fmla="*/ 0 h 39"/>
              <a:gd name="T16" fmla="*/ 0 w 73"/>
              <a:gd name="T17" fmla="*/ 0 h 39"/>
              <a:gd name="T18" fmla="*/ 0 w 73"/>
              <a:gd name="T19" fmla="*/ 8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3" h="39">
                <a:moveTo>
                  <a:pt x="0" y="39"/>
                </a:moveTo>
                <a:lnTo>
                  <a:pt x="73" y="39"/>
                </a:lnTo>
                <a:lnTo>
                  <a:pt x="73" y="30"/>
                </a:lnTo>
                <a:lnTo>
                  <a:pt x="0" y="30"/>
                </a:lnTo>
                <a:lnTo>
                  <a:pt x="0" y="39"/>
                </a:lnTo>
                <a:close/>
                <a:moveTo>
                  <a:pt x="0" y="8"/>
                </a:moveTo>
                <a:lnTo>
                  <a:pt x="73" y="8"/>
                </a:lnTo>
                <a:lnTo>
                  <a:pt x="73" y="0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25718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CE5633A-60C3-4B3A-B031-3AC94E9EB210}"/>
              </a:ext>
            </a:extLst>
          </p:cNvPr>
          <p:cNvSpPr txBox="1">
            <a:spLocks/>
          </p:cNvSpPr>
          <p:nvPr/>
        </p:nvSpPr>
        <p:spPr>
          <a:xfrm>
            <a:off x="7441509" y="2262845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Total retur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C5D7A6E-5DBC-4D4D-9FB8-F910649FF895}"/>
              </a:ext>
            </a:extLst>
          </p:cNvPr>
          <p:cNvSpPr txBox="1">
            <a:spLocks/>
          </p:cNvSpPr>
          <p:nvPr/>
        </p:nvSpPr>
        <p:spPr>
          <a:xfrm>
            <a:off x="7441509" y="3777320"/>
            <a:ext cx="11176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Total return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375F5F91-F92C-4382-8EDC-A91174313B48}"/>
              </a:ext>
            </a:extLst>
          </p:cNvPr>
          <p:cNvSpPr>
            <a:spLocks/>
          </p:cNvSpPr>
          <p:nvPr/>
        </p:nvSpPr>
        <p:spPr>
          <a:xfrm>
            <a:off x="2347913" y="3426279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Roll return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1B36993-E2D4-49A8-B0E3-CA49AA4ADE65}"/>
              </a:ext>
            </a:extLst>
          </p:cNvPr>
          <p:cNvSpPr>
            <a:spLocks/>
          </p:cNvSpPr>
          <p:nvPr/>
        </p:nvSpPr>
        <p:spPr>
          <a:xfrm>
            <a:off x="4140994" y="3426279"/>
            <a:ext cx="866775" cy="8667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Value </a:t>
            </a:r>
          </a:p>
          <a:p>
            <a:pPr algn="ctr"/>
            <a:r>
              <a:rPr lang="en-US" sz="1200"/>
              <a:t>Chang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FFD1392-52C3-4963-9452-8696E5ED90E2}"/>
              </a:ext>
            </a:extLst>
          </p:cNvPr>
          <p:cNvSpPr>
            <a:spLocks/>
          </p:cNvSpPr>
          <p:nvPr/>
        </p:nvSpPr>
        <p:spPr>
          <a:xfrm>
            <a:off x="5926931" y="3426279"/>
            <a:ext cx="866775" cy="86677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Yield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BE4E1B-5F9F-4283-B84C-F921FBBF24E7}"/>
              </a:ext>
            </a:extLst>
          </p:cNvPr>
          <p:cNvCxnSpPr>
            <a:cxnSpLocks/>
          </p:cNvCxnSpPr>
          <p:nvPr/>
        </p:nvCxnSpPr>
        <p:spPr>
          <a:xfrm>
            <a:off x="1035482" y="3151414"/>
            <a:ext cx="70900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807508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4D9B01-1C3C-4B74-894C-8904EC11F1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4D9B01-1C3C-4B74-894C-8904EC11F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137A20D-CE89-428E-AE0C-051F3BFFBF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Editor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CED79C9-4BBF-43ED-ADE2-DBCB846C1EAB}"/>
              </a:ext>
            </a:extLst>
          </p:cNvPr>
          <p:cNvSpPr/>
          <p:nvPr/>
        </p:nvSpPr>
        <p:spPr>
          <a:xfrm>
            <a:off x="28890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</a:rPr>
              <a:t>要点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</a:rPr>
              <a:t>1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9C28DC-D154-4033-A5E3-C5891EC30E37}"/>
              </a:ext>
            </a:extLst>
          </p:cNvPr>
          <p:cNvSpPr/>
          <p:nvPr/>
        </p:nvSpPr>
        <p:spPr>
          <a:xfrm>
            <a:off x="288900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kumimoji="0" lang="zh-CN" altLang="en-US" sz="1200" b="0" i="0" u="none" strike="noStrike" kern="120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文本文字</a:t>
            </a:r>
            <a:endParaRPr kumimoji="0" lang="en-US" altLang="zh-CN" sz="1200" b="0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kumimoji="0" lang="en-US" sz="1200" b="0" i="0" u="none" strike="noStrike" kern="120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2632CE5-C97A-7A48-8D7A-0362FD2D954D}"/>
              </a:ext>
            </a:extLst>
          </p:cNvPr>
          <p:cNvCxnSpPr>
            <a:cxnSpLocks/>
          </p:cNvCxnSpPr>
          <p:nvPr/>
        </p:nvCxnSpPr>
        <p:spPr>
          <a:xfrm>
            <a:off x="2354953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1DF62F5-E698-464F-A075-9C556BFF454E}"/>
              </a:ext>
            </a:extLst>
          </p:cNvPr>
          <p:cNvCxnSpPr>
            <a:cxnSpLocks/>
          </p:cNvCxnSpPr>
          <p:nvPr/>
        </p:nvCxnSpPr>
        <p:spPr>
          <a:xfrm>
            <a:off x="4570400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66C64BE-DFA2-4742-B18F-3801EFA62621}"/>
              </a:ext>
            </a:extLst>
          </p:cNvPr>
          <p:cNvCxnSpPr>
            <a:cxnSpLocks/>
          </p:cNvCxnSpPr>
          <p:nvPr/>
        </p:nvCxnSpPr>
        <p:spPr>
          <a:xfrm>
            <a:off x="6785847" y="1616149"/>
            <a:ext cx="0" cy="24732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9B3194B-7602-491D-8EB8-AE534EFB53D1}"/>
              </a:ext>
            </a:extLst>
          </p:cNvPr>
          <p:cNvSpPr/>
          <p:nvPr/>
        </p:nvSpPr>
        <p:spPr>
          <a:xfrm>
            <a:off x="249766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4820C07-9493-43CA-B65C-2737B5D0C3E7}"/>
              </a:ext>
            </a:extLst>
          </p:cNvPr>
          <p:cNvSpPr/>
          <p:nvPr/>
        </p:nvSpPr>
        <p:spPr>
          <a:xfrm>
            <a:off x="2504346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8CFC07-396A-4A6E-A467-5097D8A04578}"/>
              </a:ext>
            </a:extLst>
          </p:cNvPr>
          <p:cNvSpPr/>
          <p:nvPr/>
        </p:nvSpPr>
        <p:spPr>
          <a:xfrm>
            <a:off x="4706421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5DF3717-8AC4-48AF-A079-C53BEA6E7252}"/>
              </a:ext>
            </a:extLst>
          </p:cNvPr>
          <p:cNvSpPr/>
          <p:nvPr/>
        </p:nvSpPr>
        <p:spPr>
          <a:xfrm>
            <a:off x="4719793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6AD37F-B5D5-4781-AB6B-23660C821CF0}"/>
              </a:ext>
            </a:extLst>
          </p:cNvPr>
          <p:cNvSpPr/>
          <p:nvPr/>
        </p:nvSpPr>
        <p:spPr>
          <a:xfrm>
            <a:off x="6940400" y="1586100"/>
            <a:ext cx="1916661" cy="482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zh-CN" altLang="en-US" b="1" dirty="0">
                <a:solidFill>
                  <a:srgbClr val="000AD2"/>
                </a:solidFill>
              </a:rPr>
              <a:t>要点</a:t>
            </a:r>
            <a:r>
              <a:rPr lang="en-US" altLang="zh-CN" b="1" dirty="0">
                <a:solidFill>
                  <a:srgbClr val="000AD2"/>
                </a:solidFill>
              </a:rPr>
              <a:t>4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777A59-9069-4005-9E46-12CADFF6A98B}"/>
              </a:ext>
            </a:extLst>
          </p:cNvPr>
          <p:cNvSpPr/>
          <p:nvPr/>
        </p:nvSpPr>
        <p:spPr>
          <a:xfrm>
            <a:off x="6940400" y="2364911"/>
            <a:ext cx="1916661" cy="194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marL="152400" lvl="1" indent="-152400">
              <a:spcBef>
                <a:spcPts val="514"/>
              </a:spcBef>
              <a:buSzPct val="100000"/>
              <a:buFont typeface="+mn-lt"/>
              <a:buChar char="•"/>
              <a:defRPr/>
            </a:pPr>
            <a:r>
              <a:rPr lang="zh-CN" altLang="en-US" sz="1200" dirty="0">
                <a:solidFill>
                  <a:srgbClr val="000000"/>
                </a:solidFill>
              </a:rPr>
              <a:t>文本文字</a:t>
            </a:r>
            <a:endParaRPr lang="en-US" altLang="zh-CN" sz="1200" dirty="0">
              <a:solidFill>
                <a:srgbClr val="000000"/>
              </a:solidFill>
            </a:endParaRPr>
          </a:p>
          <a:p>
            <a:pPr lvl="0">
              <a:defRPr/>
            </a:pP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BDDC61-6546-464D-B9FF-18D9CAA945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zh-CN" altLang="en-US" dirty="0"/>
              <a:t>可选页脚（例：仅供内部参考）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21A9D-D593-4EEE-830F-B930D015AA8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013D17A-F1A2-4EC8-B129-1FB27AD2B9A2}" type="slidenum">
              <a:rPr lang="en-US" smtClean="0"/>
              <a:pPr/>
              <a:t>72</a:t>
            </a:fld>
            <a:endParaRPr lang="en-US"/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237435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19734F8-9D85-42BE-BD58-2C733C56BE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2867287"/>
              </p:ext>
            </p:extLst>
          </p:nvPr>
        </p:nvGraphicFramePr>
        <p:xfrm>
          <a:off x="2099733" y="1054100"/>
          <a:ext cx="4931834" cy="288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C996AD-F296-4602-BF8B-8D1771DEAE9C}"/>
              </a:ext>
            </a:extLst>
          </p:cNvPr>
          <p:cNvCxnSpPr>
            <a:cxnSpLocks/>
          </p:cNvCxnSpPr>
          <p:nvPr/>
        </p:nvCxnSpPr>
        <p:spPr>
          <a:xfrm>
            <a:off x="288900" y="1054100"/>
            <a:ext cx="1743945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B73F5E5-62EC-444B-B5B3-EB8E694D275F}"/>
              </a:ext>
            </a:extLst>
          </p:cNvPr>
          <p:cNvSpPr txBox="1"/>
          <p:nvPr/>
        </p:nvSpPr>
        <p:spPr>
          <a:xfrm>
            <a:off x="288900" y="1095121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29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sz="10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26FBAF-8063-47BC-A4D7-CD516F24D9F0}"/>
              </a:ext>
            </a:extLst>
          </p:cNvPr>
          <p:cNvCxnSpPr>
            <a:cxnSpLocks/>
          </p:cNvCxnSpPr>
          <p:nvPr/>
        </p:nvCxnSpPr>
        <p:spPr>
          <a:xfrm>
            <a:off x="793304" y="1628563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3BB5D54-1B30-496A-8A05-4943CF962E9F}"/>
              </a:ext>
            </a:extLst>
          </p:cNvPr>
          <p:cNvSpPr txBox="1"/>
          <p:nvPr/>
        </p:nvSpPr>
        <p:spPr>
          <a:xfrm>
            <a:off x="793304" y="1669584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29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7A1564A-198F-4E8D-A127-16F8AFFF940E}"/>
              </a:ext>
            </a:extLst>
          </p:cNvPr>
          <p:cNvCxnSpPr>
            <a:cxnSpLocks/>
          </p:cNvCxnSpPr>
          <p:nvPr/>
        </p:nvCxnSpPr>
        <p:spPr>
          <a:xfrm>
            <a:off x="1285853" y="2203026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8372ECA-D99F-4B84-B529-CEC316A03073}"/>
              </a:ext>
            </a:extLst>
          </p:cNvPr>
          <p:cNvSpPr txBox="1"/>
          <p:nvPr/>
        </p:nvSpPr>
        <p:spPr>
          <a:xfrm>
            <a:off x="1285853" y="2244047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29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E8D759F-A08C-40CA-BE29-A7D3BE329B36}"/>
              </a:ext>
            </a:extLst>
          </p:cNvPr>
          <p:cNvCxnSpPr>
            <a:cxnSpLocks/>
          </p:cNvCxnSpPr>
          <p:nvPr/>
        </p:nvCxnSpPr>
        <p:spPr>
          <a:xfrm>
            <a:off x="1778402" y="2777489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B248D09-E948-4436-B724-C1F94A7A82FF}"/>
              </a:ext>
            </a:extLst>
          </p:cNvPr>
          <p:cNvSpPr txBox="1"/>
          <p:nvPr/>
        </p:nvSpPr>
        <p:spPr>
          <a:xfrm>
            <a:off x="1778402" y="2818510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29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3C32B82-78C9-45D0-8391-887FB2B15677}"/>
              </a:ext>
            </a:extLst>
          </p:cNvPr>
          <p:cNvCxnSpPr>
            <a:cxnSpLocks/>
          </p:cNvCxnSpPr>
          <p:nvPr/>
        </p:nvCxnSpPr>
        <p:spPr>
          <a:xfrm>
            <a:off x="2270950" y="3351954"/>
            <a:ext cx="174394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3A8A38A-2184-4415-A657-4EC8C584272D}"/>
              </a:ext>
            </a:extLst>
          </p:cNvPr>
          <p:cNvSpPr txBox="1"/>
          <p:nvPr/>
        </p:nvSpPr>
        <p:spPr>
          <a:xfrm>
            <a:off x="2270950" y="3392975"/>
            <a:ext cx="176530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0" lvl="1" indent="-127000">
              <a:spcBef>
                <a:spcPts val="429"/>
              </a:spcBef>
              <a:buSzPct val="100000"/>
              <a:buFont typeface="+mn-lt"/>
              <a:buChar char="•"/>
            </a:pPr>
            <a:r>
              <a:rPr lang="zh-CN" altLang="en-US" sz="1000" dirty="0"/>
              <a:t>文本文字</a:t>
            </a:r>
            <a:endParaRPr lang="en-US" altLang="zh-CN" sz="1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D36B2D-C74B-4DE6-B562-6473F3D7C9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9C91F5-B677-466E-B65F-936918B7DBD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013D17A-F1A2-4EC8-B129-1FB27AD2B9A2}" type="slidenum">
              <a:rPr lang="en-US" smtClean="0"/>
              <a:pPr/>
              <a:t>73</a:t>
            </a:fld>
            <a:endParaRPr lang="en-US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A8E858D-D15E-4910-9AE0-DAF4CE5297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8130" y="4108850"/>
            <a:ext cx="8568927" cy="481013"/>
          </a:xfrm>
        </p:spPr>
        <p:txBody>
          <a:bodyPr lIns="0" tIns="0" rIns="0" bIns="0"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A733B4AA-0217-4A40-9C32-20D3C782D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00" y="243001"/>
            <a:ext cx="8568929" cy="378000"/>
          </a:xfrm>
        </p:spPr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主标题（</a:t>
            </a:r>
            <a:r>
              <a:rPr lang="en-US" altLang="zh-CN" sz="2000" dirty="0">
                <a:solidFill>
                  <a:srgbClr val="000AD2"/>
                </a:solidFill>
                <a:latin typeface="+mn-lt"/>
                <a:ea typeface="+mn-ea"/>
              </a:rPr>
              <a:t>20</a:t>
            </a:r>
            <a:r>
              <a:rPr lang="zh-CN" altLang="en-US" sz="20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br>
              <a:rPr lang="en-US" altLang="zh-CN" sz="1200" dirty="0">
                <a:solidFill>
                  <a:srgbClr val="000AD2"/>
                </a:solidFill>
                <a:latin typeface="+mn-lt"/>
                <a:ea typeface="+mn-ea"/>
              </a:rPr>
            </a:b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副标题（</a:t>
            </a:r>
            <a:r>
              <a:rPr lang="en-US" altLang="zh-CN" sz="1600" dirty="0">
                <a:solidFill>
                  <a:srgbClr val="000AD2"/>
                </a:solidFill>
                <a:latin typeface="+mn-lt"/>
                <a:ea typeface="+mn-ea"/>
              </a:rPr>
              <a:t>16</a:t>
            </a:r>
            <a:r>
              <a:rPr lang="zh-CN" altLang="en-US" sz="1600" dirty="0">
                <a:solidFill>
                  <a:srgbClr val="000AD2"/>
                </a:solidFill>
                <a:latin typeface="+mn-lt"/>
                <a:ea typeface="+mn-ea"/>
              </a:rPr>
              <a:t>，不加粗）</a:t>
            </a:r>
            <a:endParaRPr lang="en-US" sz="1600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191612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3F53FB-5F50-4E80-938D-1DBDB41F48A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AAFE90-396B-4DDE-ABA3-882ECFDFC78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74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22" name="Picture Placeholder 22">
            <a:extLst>
              <a:ext uri="{FF2B5EF4-FFF2-40B4-BE49-F238E27FC236}">
                <a16:creationId xmlns:a16="http://schemas.microsoft.com/office/drawing/2014/main" id="{7A837833-23CF-4F10-9E43-0CC82D1FE577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1" name="Picture Placeholder 23">
            <a:extLst>
              <a:ext uri="{FF2B5EF4-FFF2-40B4-BE49-F238E27FC236}">
                <a16:creationId xmlns:a16="http://schemas.microsoft.com/office/drawing/2014/main" id="{E5631D6F-75F7-4076-9F5C-C6A35C9705DA}"/>
              </a:ext>
            </a:extLst>
          </p:cNvPr>
          <p:cNvPicPr>
            <a:picLocks noGrp="1" noChangeAspect="1"/>
          </p:cNvPicPr>
          <p:nvPr>
            <p:ph type="pic" sz="quarter" idx="42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345" b="345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0" name="Picture Placeholder 24">
            <a:extLst>
              <a:ext uri="{FF2B5EF4-FFF2-40B4-BE49-F238E27FC236}">
                <a16:creationId xmlns:a16="http://schemas.microsoft.com/office/drawing/2014/main" id="{10A35E50-BB04-43CB-A6D5-12F496A189E4}"/>
              </a:ext>
            </a:extLst>
          </p:cNvPr>
          <p:cNvPicPr>
            <a:picLocks noGrp="1" noChangeAspect="1"/>
          </p:cNvPicPr>
          <p:nvPr>
            <p:ph type="pic" sz="quarter" idx="4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4C7C762-DEDA-454C-BC6A-9DC31D70B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&amp;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</a:t>
            </a:r>
            <a:br>
              <a:rPr lang="en-GB" sz="12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素材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M: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市场片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市场服务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公共盘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新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8" action="ppaction://hlinkfile"/>
              </a:rPr>
              <a:t>VI</a:t>
            </a: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B8823B-049D-4B37-9C16-D909B02497E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  <a:p>
            <a:pPr lvl="1"/>
            <a:endParaRPr lang="en-GB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EAEAF9-5459-4F60-8756-A30A7259F8E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40BB894-4198-40F3-AF27-EF868BDE1EA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4AB756A5-B84F-4195-84E9-386573BA978A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</p:spTree>
    <p:extLst>
      <p:ext uri="{BB962C8B-B14F-4D97-AF65-F5344CB8AC3E}">
        <p14:creationId xmlns:p14="http://schemas.microsoft.com/office/powerpoint/2010/main" val="15657139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124C95-1224-4A6F-8EFA-C648D477F40F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D08322-B9CC-4781-B839-86DC178028FF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BCA4F33B-2A5C-4874-B5D7-74DA77ECCD3C}" type="slidenum">
              <a:rPr lang="en-US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/>
              <a:t>75</a:t>
            </a:fld>
            <a:endParaRPr lang="en-US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C7C762-DEDA-454C-BC6A-9DC31D70B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</a:t>
            </a:r>
            <a:r>
              <a:rPr lang="en-US" altLang="zh-CN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&amp;</a:t>
            </a:r>
            <a:r>
              <a:rPr lang="zh-CN" altLang="en-US" sz="20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</a:t>
            </a:r>
            <a:br>
              <a:rPr lang="en-GB" altLang="zh-CN" sz="12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</a:br>
            <a:r>
              <a:rPr lang="zh-CN" altLang="en-US" sz="1600" dirty="0">
                <a:solidFill>
                  <a:srgbClr val="000AD2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小图标素材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M: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市场片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市场服务部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公共盘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\</a:t>
            </a:r>
            <a:r>
              <a:rPr lang="zh-CN" altLang="en-US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新</a:t>
            </a:r>
            <a:r>
              <a:rPr lang="en-US" altLang="zh-CN" sz="16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  <a:hlinkClick r:id="rId2" action="ppaction://hlinkfile"/>
              </a:rPr>
              <a:t>VI</a:t>
            </a:r>
            <a:endParaRPr lang="en-US" sz="12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B8823B-049D-4B37-9C16-D909B02497E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EAEAF9-5459-4F60-8756-A30A7259F8E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40BB894-4198-40F3-AF27-EF868BDE1EA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eaLnBrk="0"/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标题（</a:t>
            </a:r>
            <a:r>
              <a:rPr lang="en-US" altLang="zh-CN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b="1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加粗）</a:t>
            </a:r>
          </a:p>
          <a:p>
            <a:pPr lvl="1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  <a:p>
            <a:pPr lvl="1"/>
            <a:endParaRPr lang="en-GB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25BD9B1-C215-47BA-A256-94168C4FF7C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/>
        <p:txBody>
          <a:bodyPr/>
          <a:lstStyle/>
          <a:p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数据来源（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8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07E881A-DAD6-4DC3-A46E-BD77D47031C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8500" y="1054100"/>
            <a:ext cx="565116" cy="64008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0827208-BE22-4167-A8B1-D680D9F328D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060" y="1083705"/>
            <a:ext cx="567733" cy="56676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5753DB6-91D7-43DC-9E42-B541D4C6157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2409" y="1124882"/>
            <a:ext cx="573833" cy="44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78918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B5E155-D199-4AE3-BD8D-EA99BEC12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226" y="2050095"/>
            <a:ext cx="1563548" cy="1043309"/>
          </a:xfrm>
        </p:spPr>
        <p:txBody>
          <a:bodyPr/>
          <a:lstStyle/>
          <a:p>
            <a:r>
              <a:rPr lang="zh-CN" altLang="en-US" sz="6000" dirty="0"/>
              <a:t>谢谢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3976888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2B47BA-EC45-4154-AA6A-1FA42A994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6ED7B-FC2F-48AE-BB5E-EB3E352B9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D6A186-29F6-469A-ABCD-C15ECAC1B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68" lvl="2" indent="-102868" defTabSz="128577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35" lvl="3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03" lvl="4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>
            <a:extLst>
              <a:ext uri="{FF2B5EF4-FFF2-40B4-BE49-F238E27FC236}">
                <a16:creationId xmlns:a16="http://schemas.microsoft.com/office/drawing/2014/main" id="{9C70D78A-6D50-41D9-9AA3-3DD965A53F72}"/>
              </a:ext>
            </a:extLst>
          </p:cNvPr>
          <p:cNvSpPr txBox="1">
            <a:spLocks/>
          </p:cNvSpPr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>
            <a:extLst>
              <a:ext uri="{FF2B5EF4-FFF2-40B4-BE49-F238E27FC236}">
                <a16:creationId xmlns:a16="http://schemas.microsoft.com/office/drawing/2014/main" id="{4BEC6F8C-E1AF-4B67-9265-798DF23D31C3}"/>
              </a:ext>
            </a:extLst>
          </p:cNvPr>
          <p:cNvSpPr txBox="1">
            <a:spLocks/>
          </p:cNvSpPr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4" name="3" hidden="1">
            <a:extLst>
              <a:ext uri="{FF2B5EF4-FFF2-40B4-BE49-F238E27FC236}">
                <a16:creationId xmlns:a16="http://schemas.microsoft.com/office/drawing/2014/main" id="{A4014955-50A8-43CF-8A5A-3AACAC6EA39F}"/>
              </a:ext>
            </a:extLst>
          </p:cNvPr>
          <p:cNvSpPr txBox="1">
            <a:spLocks/>
          </p:cNvSpPr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6" name="4" hidden="1">
            <a:extLst>
              <a:ext uri="{FF2B5EF4-FFF2-40B4-BE49-F238E27FC236}">
                <a16:creationId xmlns:a16="http://schemas.microsoft.com/office/drawing/2014/main" id="{B5B5957F-A5C1-42A6-BF8A-88F11142DA26}"/>
              </a:ext>
            </a:extLst>
          </p:cNvPr>
          <p:cNvSpPr txBox="1">
            <a:spLocks/>
          </p:cNvSpPr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7" name="5" hidden="1">
            <a:extLst>
              <a:ext uri="{FF2B5EF4-FFF2-40B4-BE49-F238E27FC236}">
                <a16:creationId xmlns:a16="http://schemas.microsoft.com/office/drawing/2014/main" id="{2AAA96B1-7BF3-44E5-BA15-ED1A4EC3D37E}"/>
              </a:ext>
            </a:extLst>
          </p:cNvPr>
          <p:cNvSpPr txBox="1">
            <a:spLocks/>
          </p:cNvSpPr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8" name="6" hidden="1">
            <a:extLst>
              <a:ext uri="{FF2B5EF4-FFF2-40B4-BE49-F238E27FC236}">
                <a16:creationId xmlns:a16="http://schemas.microsoft.com/office/drawing/2014/main" id="{CF9CE9E2-80FC-4BDF-8712-706313A38F3D}"/>
              </a:ext>
            </a:extLst>
          </p:cNvPr>
          <p:cNvSpPr txBox="1">
            <a:spLocks/>
          </p:cNvSpPr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9" name="7" hidden="1">
            <a:extLst>
              <a:ext uri="{FF2B5EF4-FFF2-40B4-BE49-F238E27FC236}">
                <a16:creationId xmlns:a16="http://schemas.microsoft.com/office/drawing/2014/main" id="{4CBACCAE-ACB4-4388-BCCF-5E03B3294D8F}"/>
              </a:ext>
            </a:extLst>
          </p:cNvPr>
          <p:cNvSpPr txBox="1">
            <a:spLocks/>
          </p:cNvSpPr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0" name="8" hidden="1">
            <a:extLst>
              <a:ext uri="{FF2B5EF4-FFF2-40B4-BE49-F238E27FC236}">
                <a16:creationId xmlns:a16="http://schemas.microsoft.com/office/drawing/2014/main" id="{D5B2C2D0-C973-4DC5-AFA4-73D4C4E72A02}"/>
              </a:ext>
            </a:extLst>
          </p:cNvPr>
          <p:cNvSpPr txBox="1">
            <a:spLocks/>
          </p:cNvSpPr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1" name="9" hidden="1">
            <a:extLst>
              <a:ext uri="{FF2B5EF4-FFF2-40B4-BE49-F238E27FC236}">
                <a16:creationId xmlns:a16="http://schemas.microsoft.com/office/drawing/2014/main" id="{EAEE306F-DCED-4F43-9560-EA875C9B91BB}"/>
              </a:ext>
            </a:extLst>
          </p:cNvPr>
          <p:cNvSpPr txBox="1">
            <a:spLocks/>
          </p:cNvSpPr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679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2B47BA-EC45-4154-AA6A-1FA42A994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可选页脚（例：仅供内部参考）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6ED7B-FC2F-48AE-BB5E-EB3E352B9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A4F33B-2A5C-4874-B5D7-74DA77ECCD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0F0F0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D6A186-29F6-469A-ABCD-C15ECAC1B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分隔页主标题（</a:t>
            </a:r>
            <a:r>
              <a:rPr lang="en-US" altLang="zh-CN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0</a:t>
            </a:r>
            <a:r>
              <a:rPr lang="zh-CN" altLang="en-US" sz="2000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sz="200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6" name="内容占位符 2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0"/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文本文字（可选，</a:t>
            </a:r>
            <a:r>
              <a:rPr lang="en-US" altLang="zh-CN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102868" lvl="2" indent="-102868" defTabSz="128577">
              <a:spcBef>
                <a:spcPts val="450"/>
              </a:spcBef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一级项目（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2</a:t>
            </a: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，不加粗）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205735" lvl="3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二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marL="308603" lvl="4" indent="-102868" defTabSz="128577">
              <a:spcBef>
                <a:spcPts val="450"/>
              </a:spcBef>
              <a:buFont typeface="Arial" panose="020B0604020202020204" pitchFamily="34" charset="0"/>
              <a:buChar char="–"/>
            </a:pPr>
            <a:r>
              <a:rPr lang="zh-CN" altLang="en-US" dirty="0">
                <a:solidFill>
                  <a:srgbClr val="000000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三级项目</a:t>
            </a:r>
            <a:endParaRPr lang="en-US" altLang="zh-CN" dirty="0">
              <a:solidFill>
                <a:srgbClr val="000000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12" name="1">
            <a:extLst>
              <a:ext uri="{FF2B5EF4-FFF2-40B4-BE49-F238E27FC236}">
                <a16:creationId xmlns:a16="http://schemas.microsoft.com/office/drawing/2014/main" id="{9C70D78A-6D50-41D9-9AA3-3DD965A53F72}"/>
              </a:ext>
            </a:extLst>
          </p:cNvPr>
          <p:cNvSpPr txBox="1">
            <a:spLocks/>
          </p:cNvSpPr>
          <p:nvPr/>
        </p:nvSpPr>
        <p:spPr>
          <a:xfrm>
            <a:off x="4739540" y="-736164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25800" b="0" i="0" u="none" strike="noStrike" kern="1200" cap="none" spc="0" normalizeH="0" baseline="0" noProof="0" dirty="0">
                <a:ln>
                  <a:noFill/>
                </a:ln>
                <a:solidFill>
                  <a:srgbClr val="000AD2"/>
                </a:solidFill>
                <a:effectLst/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kumimoji="0" lang="en-US" sz="25800" b="0" i="0" u="none" strike="noStrike" kern="1200" cap="none" spc="0" normalizeH="0" baseline="0" noProof="0" dirty="0">
              <a:ln>
                <a:noFill/>
              </a:ln>
              <a:solidFill>
                <a:srgbClr val="000AD2"/>
              </a:solidFill>
              <a:effectLst/>
              <a:uLnTx/>
              <a:uFillTx/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2" name="2" hidden="1">
            <a:extLst>
              <a:ext uri="{FF2B5EF4-FFF2-40B4-BE49-F238E27FC236}">
                <a16:creationId xmlns:a16="http://schemas.microsoft.com/office/drawing/2014/main" id="{4BEC6F8C-E1AF-4B67-9265-798DF23D31C3}"/>
              </a:ext>
            </a:extLst>
          </p:cNvPr>
          <p:cNvSpPr txBox="1">
            <a:spLocks/>
          </p:cNvSpPr>
          <p:nvPr/>
        </p:nvSpPr>
        <p:spPr>
          <a:xfrm>
            <a:off x="4929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2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4" name="3" hidden="1">
            <a:extLst>
              <a:ext uri="{FF2B5EF4-FFF2-40B4-BE49-F238E27FC236}">
                <a16:creationId xmlns:a16="http://schemas.microsoft.com/office/drawing/2014/main" id="{A4014955-50A8-43CF-8A5A-3AACAC6EA39F}"/>
              </a:ext>
            </a:extLst>
          </p:cNvPr>
          <p:cNvSpPr txBox="1">
            <a:spLocks/>
          </p:cNvSpPr>
          <p:nvPr/>
        </p:nvSpPr>
        <p:spPr>
          <a:xfrm>
            <a:off x="4967969" y="-5079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3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6" name="4" hidden="1">
            <a:extLst>
              <a:ext uri="{FF2B5EF4-FFF2-40B4-BE49-F238E27FC236}">
                <a16:creationId xmlns:a16="http://schemas.microsoft.com/office/drawing/2014/main" id="{B5B5957F-A5C1-42A6-BF8A-88F11142DA26}"/>
              </a:ext>
            </a:extLst>
          </p:cNvPr>
          <p:cNvSpPr txBox="1">
            <a:spLocks/>
          </p:cNvSpPr>
          <p:nvPr/>
        </p:nvSpPr>
        <p:spPr>
          <a:xfrm>
            <a:off x="4802870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4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7" name="5" hidden="1">
            <a:extLst>
              <a:ext uri="{FF2B5EF4-FFF2-40B4-BE49-F238E27FC236}">
                <a16:creationId xmlns:a16="http://schemas.microsoft.com/office/drawing/2014/main" id="{2AAA96B1-7BF3-44E5-BA15-ED1A4EC3D37E}"/>
              </a:ext>
            </a:extLst>
          </p:cNvPr>
          <p:cNvSpPr txBox="1">
            <a:spLocks/>
          </p:cNvSpPr>
          <p:nvPr/>
        </p:nvSpPr>
        <p:spPr>
          <a:xfrm>
            <a:off x="4938336" y="-5926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5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8" name="6" hidden="1">
            <a:extLst>
              <a:ext uri="{FF2B5EF4-FFF2-40B4-BE49-F238E27FC236}">
                <a16:creationId xmlns:a16="http://schemas.microsoft.com/office/drawing/2014/main" id="{CF9CE9E2-80FC-4BDF-8712-706313A38F3D}"/>
              </a:ext>
            </a:extLst>
          </p:cNvPr>
          <p:cNvSpPr txBox="1">
            <a:spLocks/>
          </p:cNvSpPr>
          <p:nvPr/>
        </p:nvSpPr>
        <p:spPr>
          <a:xfrm>
            <a:off x="4942569" y="-55028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6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19" name="7" hidden="1">
            <a:extLst>
              <a:ext uri="{FF2B5EF4-FFF2-40B4-BE49-F238E27FC236}">
                <a16:creationId xmlns:a16="http://schemas.microsoft.com/office/drawing/2014/main" id="{4CBACCAE-ACB4-4388-BCCF-5E03B3294D8F}"/>
              </a:ext>
            </a:extLst>
          </p:cNvPr>
          <p:cNvSpPr txBox="1">
            <a:spLocks/>
          </p:cNvSpPr>
          <p:nvPr/>
        </p:nvSpPr>
        <p:spPr>
          <a:xfrm>
            <a:off x="4807104" y="1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7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0" name="8" hidden="1">
            <a:extLst>
              <a:ext uri="{FF2B5EF4-FFF2-40B4-BE49-F238E27FC236}">
                <a16:creationId xmlns:a16="http://schemas.microsoft.com/office/drawing/2014/main" id="{D5B2C2D0-C973-4DC5-AFA4-73D4C4E72A02}"/>
              </a:ext>
            </a:extLst>
          </p:cNvPr>
          <p:cNvSpPr txBox="1">
            <a:spLocks/>
          </p:cNvSpPr>
          <p:nvPr/>
        </p:nvSpPr>
        <p:spPr>
          <a:xfrm>
            <a:off x="4938336" y="-5079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8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  <p:sp>
        <p:nvSpPr>
          <p:cNvPr id="21" name="9" hidden="1">
            <a:extLst>
              <a:ext uri="{FF2B5EF4-FFF2-40B4-BE49-F238E27FC236}">
                <a16:creationId xmlns:a16="http://schemas.microsoft.com/office/drawing/2014/main" id="{EAEE306F-DCED-4F43-9560-EA875C9B91BB}"/>
              </a:ext>
            </a:extLst>
          </p:cNvPr>
          <p:cNvSpPr txBox="1">
            <a:spLocks/>
          </p:cNvSpPr>
          <p:nvPr/>
        </p:nvSpPr>
        <p:spPr>
          <a:xfrm>
            <a:off x="4959503" y="-33865"/>
            <a:ext cx="4144144" cy="587966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171440" rtl="0" eaLnBrk="1" latinLnBrk="0" hangingPunct="1">
              <a:lnSpc>
                <a:spcPct val="75000"/>
              </a:lnSpc>
              <a:spcBef>
                <a:spcPts val="675"/>
              </a:spcBef>
              <a:buFont typeface="Verdana" pitchFamily="34" charset="0"/>
              <a:buNone/>
              <a:defRPr sz="37125" b="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675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71440" rtl="0" eaLnBrk="1" latinLnBrk="0" hangingPunct="1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01811" indent="-99120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503" indent="-102692" algn="l" defTabSz="17144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9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32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11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90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69" indent="-171440" algn="l" defTabSz="6857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71440" rtl="0" eaLnBrk="1" fontAlgn="auto" latinLnBrk="0" hangingPunct="1">
              <a:lnSpc>
                <a:spcPct val="75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GB" sz="3712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/>
                <a:cs typeface="+mn-cs"/>
              </a:rPr>
              <a:t>9</a:t>
            </a:r>
            <a:endParaRPr kumimoji="0" lang="en-US" sz="3712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黑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164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SA_TEMPLATE" val="Design-Led"/>
  <p:tag name="IVZSA_AUDIENCE" val="Custom"/>
  <p:tag name="IVZSA_CUSTOMAUDIENCE" val="Optional footer"/>
  <p:tag name="IVZSA_TEXTSTYLE" val="Design-Led"/>
  <p:tag name="IVZSA_CHARTTABLESTYLE" val="Standard"/>
  <p:tag name="IVZSA_LOGO" val="Invesco"/>
  <p:tag name="IVZSA_FONT" val="Editor + Graphi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_BOR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EkLrsp1RaVdzlKwsTf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jLOb5cmMQnEGmIgOjf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VZ-BG" val="true"/>
</p:tagLst>
</file>

<file path=ppt/theme/theme1.xml><?xml version="1.0" encoding="utf-8"?>
<a:theme xmlns:a="http://schemas.openxmlformats.org/drawingml/2006/main" name="IVZ 2020 Design Led Template">
  <a:themeElements>
    <a:clrScheme name="DV 2021_update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598FA"/>
      </a:accent2>
      <a:accent3>
        <a:srgbClr val="483FCD"/>
      </a:accent3>
      <a:accent4>
        <a:srgbClr val="9180FF"/>
      </a:accent4>
      <a:accent5>
        <a:srgbClr val="3831A0"/>
      </a:accent5>
      <a:accent6>
        <a:srgbClr val="B436E8"/>
      </a:accent6>
      <a:hlink>
        <a:srgbClr val="000AD2"/>
      </a:hlink>
      <a:folHlink>
        <a:srgbClr val="0598FA"/>
      </a:folHlink>
    </a:clrScheme>
    <a:fontScheme name="自定义 1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latin typeface="Arial" panose="020B0604020202020204" pitchFamily="34" charset="0"/>
            <a:ea typeface="黑体" panose="02010609060101010101" pitchFamily="49" charset="-122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D52219"/>
    </a:custClr>
    <a:custClr name="Green">
      <a:srgbClr val="00B760"/>
    </a:custClr>
    <a:custClr name="Orange">
      <a:srgbClr val="F96706"/>
    </a:custClr>
    <a:custClr name="Icy Blue">
      <a:srgbClr val="5FF0FF"/>
    </a:custClr>
    <a:custClr name="Mid Blue">
      <a:srgbClr val="0598FA"/>
    </a:custClr>
    <a:custClr name="Warm Red">
      <a:srgbClr val="FF4632"/>
    </a:custClr>
  </a:custClrLst>
  <a:extLst>
    <a:ext uri="{05A4C25C-085E-4340-85A3-A5531E510DB2}">
      <thm15:themeFamily xmlns:thm15="http://schemas.microsoft.com/office/thememl/2012/main" name="2020 Design Led Template_v17.potx" id="{7CD15CBD-FE0D-4193-B6D4-C66EF3292403}" vid="{2B3DDF35-CDF6-48EC-ABF7-30D95AB4E66A}"/>
    </a:ext>
  </a:extLst>
</a:theme>
</file>

<file path=ppt/theme/theme2.xml><?xml version="1.0" encoding="utf-8"?>
<a:theme xmlns:a="http://schemas.openxmlformats.org/drawingml/2006/main" name="1_IVZ 2020 Design Led Template">
  <a:themeElements>
    <a:clrScheme name="DV 2021_update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598FA"/>
      </a:accent2>
      <a:accent3>
        <a:srgbClr val="483FCD"/>
      </a:accent3>
      <a:accent4>
        <a:srgbClr val="9180FF"/>
      </a:accent4>
      <a:accent5>
        <a:srgbClr val="3831A0"/>
      </a:accent5>
      <a:accent6>
        <a:srgbClr val="B436E8"/>
      </a:accent6>
      <a:hlink>
        <a:srgbClr val="000AD2"/>
      </a:hlink>
      <a:folHlink>
        <a:srgbClr val="0598FA"/>
      </a:folHlink>
    </a:clrScheme>
    <a:fontScheme name="自定义 1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latin typeface="Arial" panose="020B0604020202020204" pitchFamily="34" charset="0"/>
            <a:ea typeface="黑体" panose="02010609060101010101" pitchFamily="49" charset="-122"/>
            <a:cs typeface="Arial" panose="020B0604020202020204" pitchFamily="34" charset="0"/>
          </a:defRPr>
        </a:defPPr>
      </a:lstStyle>
    </a:txDef>
  </a:objectDefaults>
  <a:extraClrSchemeLst/>
  <a:custClrLst>
    <a:custClr name="Red">
      <a:srgbClr val="D52219"/>
    </a:custClr>
    <a:custClr name="Green">
      <a:srgbClr val="00B760"/>
    </a:custClr>
    <a:custClr name="Orange">
      <a:srgbClr val="F96706"/>
    </a:custClr>
    <a:custClr name="Icy Blue">
      <a:srgbClr val="5FF0FF"/>
    </a:custClr>
    <a:custClr name="Mid Blue">
      <a:srgbClr val="0598FA"/>
    </a:custClr>
    <a:custClr name="Warm Red">
      <a:srgbClr val="FF4632"/>
    </a:custClr>
  </a:custClrLst>
  <a:extLst>
    <a:ext uri="{05A4C25C-085E-4340-85A3-A5531E510DB2}">
      <thm15:themeFamily xmlns:thm15="http://schemas.microsoft.com/office/thememl/2012/main" name="2020 Design Led Template_v17.potx" id="{7CD15CBD-FE0D-4193-B6D4-C66EF3292403}" vid="{2B3DDF35-CDF6-48EC-ABF7-30D95AB4E66A}"/>
    </a:ext>
  </a:extLst>
</a:theme>
</file>

<file path=ppt/theme/theme3.xml><?xml version="1.0" encoding="utf-8"?>
<a:theme xmlns:a="http://schemas.openxmlformats.org/drawingml/2006/main" name="IVZ 2020 Everyday Template">
  <a:themeElements>
    <a:clrScheme name="Invesco-TB sep20">
      <a:dk1>
        <a:srgbClr val="000000"/>
      </a:dk1>
      <a:lt1>
        <a:srgbClr val="FFFFFF"/>
      </a:lt1>
      <a:dk2>
        <a:srgbClr val="000AD2"/>
      </a:dk2>
      <a:lt2>
        <a:srgbClr val="F0F0F0"/>
      </a:lt2>
      <a:accent1>
        <a:srgbClr val="000078"/>
      </a:accent1>
      <a:accent2>
        <a:srgbClr val="000AD2"/>
      </a:accent2>
      <a:accent3>
        <a:srgbClr val="5FF0FF"/>
      </a:accent3>
      <a:accent4>
        <a:srgbClr val="0A9BFA"/>
      </a:accent4>
      <a:accent5>
        <a:srgbClr val="00D28C"/>
      </a:accent5>
      <a:accent6>
        <a:srgbClr val="AAF500"/>
      </a:accent6>
      <a:hlink>
        <a:srgbClr val="5FF0FF"/>
      </a:hlink>
      <a:folHlink>
        <a:srgbClr val="0003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R226 G35 B26">
      <a:srgbClr val="E2231A"/>
    </a:custClr>
    <a:custClr name="R175 G35 B165">
      <a:srgbClr val="AF23A5"/>
    </a:custClr>
    <a:custClr name="R0 G155 B250">
      <a:srgbClr val="009BFA"/>
    </a:custClr>
    <a:custClr name="R0 G140 B130">
      <a:srgbClr val="008C82"/>
    </a:custClr>
    <a:custClr name="R0 G183 B96">
      <a:srgbClr val="00B760"/>
    </a:custClr>
    <a:custClr name="R140 G200 B0">
      <a:srgbClr val="8CC800"/>
    </a:custClr>
  </a:custClrLst>
  <a:extLst>
    <a:ext uri="{05A4C25C-085E-4340-85A3-A5531E510DB2}">
      <thm15:themeFamily xmlns:thm15="http://schemas.microsoft.com/office/thememl/2012/main" name="2020 Everyday Template.potx" id="{9E4285C0-B317-44A9-972F-5E395D6C4C15}" vid="{99A05C49-56D1-46B2-AB7F-BF76D2B5CA5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23</TotalTime>
  <Words>4557</Words>
  <Application>Microsoft Office PowerPoint</Application>
  <PresentationFormat>全屏显示(16:9)</PresentationFormat>
  <Paragraphs>714</Paragraphs>
  <Slides>76</Slides>
  <Notes>2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6</vt:i4>
      </vt:variant>
    </vt:vector>
  </HeadingPairs>
  <TitlesOfParts>
    <vt:vector size="90" baseType="lpstr">
      <vt:lpstr>Editor</vt:lpstr>
      <vt:lpstr>Graphik</vt:lpstr>
      <vt:lpstr>Graphik Regular</vt:lpstr>
      <vt:lpstr>Graphik Semibold</vt:lpstr>
      <vt:lpstr>Noto Sans SC Regular</vt:lpstr>
      <vt:lpstr>黑体</vt:lpstr>
      <vt:lpstr>Arial</vt:lpstr>
      <vt:lpstr>Calibri</vt:lpstr>
      <vt:lpstr>Verdana</vt:lpstr>
      <vt:lpstr>Wingdings</vt:lpstr>
      <vt:lpstr>IVZ 2020 Design Led Template</vt:lpstr>
      <vt:lpstr>1_IVZ 2020 Design Led Template</vt:lpstr>
      <vt:lpstr>IVZ 2020 Everyday Template</vt:lpstr>
      <vt:lpstr>think-cell Slide</vt:lpstr>
      <vt:lpstr>2023年暑期实习答辩</vt:lpstr>
      <vt:lpstr>主标题（32，不加粗）</vt:lpstr>
      <vt:lpstr>主标题（32，不加粗）</vt:lpstr>
      <vt:lpstr>目录页(20，不加粗)</vt:lpstr>
      <vt:lpstr>参考线 使用规范说明</vt:lpstr>
      <vt:lpstr>PowerPoint 演示文稿</vt:lpstr>
      <vt:lpstr>基金经理介绍（20，不加粗） </vt:lpstr>
      <vt:lpstr>分隔页主标题（20，不加粗）</vt:lpstr>
      <vt:lpstr>分隔页主标题（20，不加粗）</vt:lpstr>
      <vt:lpstr>分隔页主标题（20，不加粗）</vt:lpstr>
      <vt:lpstr>交易信号</vt:lpstr>
      <vt:lpstr>茅台600519，已知过去三年（2020年8月24日至2023年8月17日）9：31-10：00收盘价数据预测10：01收盘价，样本外数据7月14至8月17，样本内至7月13日</vt:lpstr>
      <vt:lpstr>茅台600519，已知过去三年（2020年8月24日至2023年8月17日）9：31-10：00收盘价数据预测10：02收盘价，样本外数据7月14至8月17，样本内至7月13日</vt:lpstr>
      <vt:lpstr>茅台600519，已知过去三年（2020年8月24日至2023年8月17日）9：31-10：00收盘价数据预测10：03收盘价，样本外数据7月14至8月17，样本内至7月13日</vt:lpstr>
      <vt:lpstr>茅台600519，已知过去三年（2020年8月24日至2023年8月17日）9：31-10：00收盘价数据预测10：04收盘价，样本外数据7月14至8月17，样本内至7月13日</vt:lpstr>
      <vt:lpstr>茅台600519，已知过去三年（2020年8月24日至2023年8月17日）9：31-10：00收盘价数据预测10：05收盘价，样本外数据7月14至8月17，样本内至7月13日</vt:lpstr>
      <vt:lpstr>茅台600519，已知过去三年（2020年8月24日至2023年8月17日）9：31-10：00收盘价数据预测10：06收盘价，样本外数据7月14至8月17，样本内至7月13日</vt:lpstr>
      <vt:lpstr>茅台600519，已知过去三年（2020年8月24日至2023年8月17日）9：31-10：00收盘价数据预测10：07收盘价，样本外数据7月14至8月17，样本内至7月13日</vt:lpstr>
      <vt:lpstr>茅台600519，已知过去三年（2020年8月24日至2023年8月17日）9：31-10：00收盘价数据预测10：08收盘价，样本外数据7月14至8月17，样本内至7月13日</vt:lpstr>
      <vt:lpstr>茅台600519，已知过去三年（2020年8月24日至2023年8月17日）9：31-10：00收盘价数据预测10：09收盘价，样本外数据7月14至8月17，样本内至7月13日</vt:lpstr>
      <vt:lpstr>茅台600519，已知过去三年（2020年8月24日至2023年8月17日）9：31-10：00收盘价数据预测10：10收盘价，样本外数据7月14至8月17，样本内至7月13日</vt:lpstr>
      <vt:lpstr>茅台600519，已知过去三年（2020年8月24日至2023年8月17日）9：31-10：00收盘价数据预测10：11收盘价，样本外数据7月14至8月17，样本内至7月13日</vt:lpstr>
      <vt:lpstr>茅台600519，已知过去三年（2020年8月24日至2023年8月17日）9：31-10：00收盘价数据预测10：12收盘价，样本外数据7月14至8月17，样本内至7月13日</vt:lpstr>
      <vt:lpstr>茅台600519，已知过去三年（2020年8月24日至2023年8月17日）9：31-10：00收盘价数据预测10：13收盘价，样本外数据7月14至8月17，样本内至7月13日</vt:lpstr>
      <vt:lpstr>茅台600519，已知过去三年（2020年8月24日至2023年8月17日）9：31-10：00收盘价数据预测10：14收盘价，样本外数据7月14至8月17，样本内至7月13日</vt:lpstr>
      <vt:lpstr>茅台600519，已知过去三年（2020年8月24日至2023年8月17日）9：31-10：00收盘价数据预测10：15收盘价，样本外数据7月14至8月17，样本内至7月13日</vt:lpstr>
      <vt:lpstr>茅台600519，已知过去三年（2020年8月24日至2023年8月17日）9：31-10：00收盘价数据预测10：16收盘价，样本外数据7月14至8月17，样本内至7月13日</vt:lpstr>
      <vt:lpstr>茅台600519，已知过去三年（2020年8月24日至2023年8月17日）9：31-10：00收盘价数据预测10：17收盘价，样本外数据7月14至8月17，样本内至7月13日</vt:lpstr>
      <vt:lpstr>茅台600519，已知过去三年（2020年8月24日至2023年8月17日）9：31-10：00收盘价数据预测10：18收盘价，样本外数据7月14至8月17，样本内至7月13日</vt:lpstr>
      <vt:lpstr>茅台600519，已知过去三年（2020年8月24日至2023年8月17日）9：31-10：00收盘价数据预测10：19收盘价，样本外数据7月14至8月17，样本内至7月13日</vt:lpstr>
      <vt:lpstr>茅台600519，已知过去三年（2020年8月24日至2023年8月17日）9：31-10：00收盘价数据预测10：20收盘价，样本外数据7月14至8月17，样本内至7月13日</vt:lpstr>
      <vt:lpstr>茅台600519，已知过去三年（2020年8月24日至2023年8月17日）9：31-10：00收盘价数据预测10：21收盘价，样本外数据7月14至8月17，样本内至7月13日</vt:lpstr>
      <vt:lpstr>茅台600519，已知过去三年（2020年8月24日至2023年8月17日）9：31-10：00收盘价数据预测10：22收盘价，样本外数据7月14至8月17，样本内至7月13日</vt:lpstr>
      <vt:lpstr>茅台600519，已知过去三年（2020年8月24日至2023年8月17日）9：31-10：00收盘价数据预测10：23收盘价，样本外数据7月14至8月17，样本内至7月13日</vt:lpstr>
      <vt:lpstr>茅台600519，已知过去三年（2020年8月24日至2023年8月17日）9：31-10：00收盘价数据预测10：24收盘价，样本外数据7月14至8月17，样本内至7月13日</vt:lpstr>
      <vt:lpstr>茅台600519，已知过去三年（2020年8月24日至2023年8月17日）9：31-10：00收盘价数据预测10：25收盘价，样本外数据7月14至8月17，样本内至7月13日</vt:lpstr>
      <vt:lpstr>茅台600519，已知过去三年（2020年8月24日至2023年8月17日）9：31-10：00收盘价数据预测10：26收盘价，样本外数据7月14至8月17，样本内至7月13日</vt:lpstr>
      <vt:lpstr>茅台600519，已知过去三年（2020年8月24日至2023年8月17日）9：31-10：00收盘价数据预测10：27收盘价，样本外数据7月14至8月17，样本内至7月13日</vt:lpstr>
      <vt:lpstr>茅台600519，已知过去三年（2020年8月24日至2023年8月17日）9：31-10：00收盘价数据预测10：28收盘价，样本外数据7月14至8月17，样本内至7月13日</vt:lpstr>
      <vt:lpstr>茅台600519，已知过去三年（2020年8月24日至2023年8月17日）9：31-10：00收盘价数据预测10：29收盘价，样本外数据7月14至8月17，样本内至7月13日</vt:lpstr>
      <vt:lpstr>茅台600519，已知过去三年（2020年8月24日至2023年8月17日）9：31-10：00收盘价数据预测10：30收盘价，样本外数据7月14至8月17，样本内至7月13日</vt:lpstr>
      <vt:lpstr>茅台600519，已知过去三年（2020年8月24日至2023年8月17日）9：31-10：00收盘价数据预测10：06收盘价，样本外数据7月14至8月17，样本内至7月13日</vt:lpstr>
      <vt:lpstr>交易时点选择 模型展示</vt:lpstr>
      <vt:lpstr>茅台600519(用到未来信息了）</vt:lpstr>
      <vt:lpstr>金山办公688111 (用到未来信息了）</vt:lpstr>
      <vt:lpstr>浦发银行600000 (用到未来信息了）</vt:lpstr>
      <vt:lpstr>白云机场600004 (用到未来信息了）</vt:lpstr>
      <vt:lpstr>海科B(不太对）900938 (用到未来信息了）</vt:lpstr>
      <vt:lpstr>德龙激光688170 (用到未来信息了）</vt:lpstr>
      <vt:lpstr>金科股份000656.SZ (用到未来信息了）</vt:lpstr>
      <vt:lpstr>剑桥科技603083 (用到未来信息了）</vt:lpstr>
      <vt:lpstr>论点展示（20，不加粗） 两栏（16，不加粗）</vt:lpstr>
      <vt:lpstr>数据表格（20，不加粗） 带高亮行</vt:lpstr>
      <vt:lpstr>文本表格（20，不加粗） </vt:lpstr>
      <vt:lpstr>图表颜色 </vt:lpstr>
      <vt:lpstr>色板 仅供数据图表中使用</vt:lpstr>
      <vt:lpstr>色板 仅供数据图表中使用</vt:lpstr>
      <vt:lpstr>图表示例 一栏</vt:lpstr>
      <vt:lpstr>图表示例 两栏</vt:lpstr>
      <vt:lpstr>图表示例 两栏</vt:lpstr>
      <vt:lpstr>图表示例 三栏</vt:lpstr>
      <vt:lpstr>图表示例 四栏</vt:lpstr>
      <vt:lpstr>图表示例 2*2栏</vt:lpstr>
      <vt:lpstr>文本文字</vt:lpstr>
      <vt:lpstr>主标题（20，不加粗） 副标题（16，不加粗）</vt:lpstr>
      <vt:lpstr>主标题（20，不加粗） 副标题（16，不加粗）</vt:lpstr>
      <vt:lpstr>PowerPoint 演示文稿</vt:lpstr>
      <vt:lpstr>PowerPoint 演示文稿</vt:lpstr>
      <vt:lpstr>PowerPoint 演示文稿</vt:lpstr>
      <vt:lpstr>主标题（20，不加粗）</vt:lpstr>
      <vt:lpstr>主标题（20，不加粗） 副标题（16，不加粗）</vt:lpstr>
      <vt:lpstr>主标题（20，不加粗） 副标题（16，不加粗）</vt:lpstr>
      <vt:lpstr>主标题（20，不加粗） 副标题（16，不加粗）</vt:lpstr>
      <vt:lpstr>文本&amp;小图标 小图标素材在M:\市场片\市场服务部\公共盘\新VI</vt:lpstr>
      <vt:lpstr>文本&amp;小图标 小图标素材在M:\市场片\市场服务部\公共盘\新VI</vt:lpstr>
      <vt:lpstr>谢谢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ric Gersbeck</dc:creator>
  <cp:lastModifiedBy>Nian.Fan(念凡)</cp:lastModifiedBy>
  <cp:revision>161</cp:revision>
  <dcterms:created xsi:type="dcterms:W3CDTF">2021-03-30T13:11:14Z</dcterms:created>
  <dcterms:modified xsi:type="dcterms:W3CDTF">2023-08-25T12:20:02Z</dcterms:modified>
</cp:coreProperties>
</file>